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4" r:id="rId5"/>
  </p:sldMasterIdLst>
  <p:notesMasterIdLst>
    <p:notesMasterId r:id="rId14"/>
  </p:notesMasterIdLst>
  <p:sldIdLst>
    <p:sldId id="301" r:id="rId6"/>
    <p:sldId id="294" r:id="rId7"/>
    <p:sldId id="303" r:id="rId8"/>
    <p:sldId id="304" r:id="rId9"/>
    <p:sldId id="260" r:id="rId10"/>
    <p:sldId id="305" r:id="rId11"/>
    <p:sldId id="306" r:id="rId12"/>
    <p:sldId id="300" r:id="rId13"/>
  </p:sldIdLst>
  <p:sldSz cx="9144000" cy="5143500" type="screen16x9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amper Stefan" initials="GS" lastIdx="4" clrIdx="0">
    <p:extLst>
      <p:ext uri="{19B8F6BF-5375-455C-9EA6-DF929625EA0E}">
        <p15:presenceInfo xmlns:p15="http://schemas.microsoft.com/office/powerpoint/2012/main" userId="S-1-5-21-1085031214-1801674531-725345543-34580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93600"/>
    <a:srgbClr val="3B5777"/>
    <a:srgbClr val="008080"/>
    <a:srgbClr val="5E0E99"/>
    <a:srgbClr val="0000FF"/>
    <a:srgbClr val="F3FCFF"/>
    <a:srgbClr val="FEF1E6"/>
    <a:srgbClr val="FBF3F3"/>
    <a:srgbClr val="EEF1F4"/>
    <a:srgbClr val="F1F4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582" autoAdjust="0"/>
    <p:restoredTop sz="93124" autoAdjust="0"/>
  </p:normalViewPr>
  <p:slideViewPr>
    <p:cSldViewPr snapToGrid="0">
      <p:cViewPr varScale="1">
        <p:scale>
          <a:sx n="136" d="100"/>
          <a:sy n="136" d="100"/>
        </p:scale>
        <p:origin x="414" y="114"/>
      </p:cViewPr>
      <p:guideLst>
        <p:guide orient="horz" pos="1620"/>
        <p:guide pos="2880"/>
      </p:guideLst>
    </p:cSldViewPr>
  </p:slideViewPr>
  <p:notesTextViewPr>
    <p:cViewPr>
      <p:scale>
        <a:sx n="400" d="100"/>
        <a:sy n="400" d="100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B9AFC5-CB16-453B-85CE-D421D43AEEC7}" type="datetimeFigureOut">
              <a:rPr lang="de-CH" smtClean="0"/>
              <a:pPr/>
              <a:t>12.01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0A66F4-8C04-4876-A73B-57C6BFF4AD75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39559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ckblatt_Spicke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7"/>
          <p:cNvSpPr txBox="1">
            <a:spLocks/>
          </p:cNvSpPr>
          <p:nvPr userDrawn="1"/>
        </p:nvSpPr>
        <p:spPr>
          <a:xfrm>
            <a:off x="1430030" y="1610060"/>
            <a:ext cx="7030403" cy="857250"/>
          </a:xfrm>
          <a:prstGeom prst="rect">
            <a:avLst/>
          </a:prstGeom>
        </p:spPr>
        <p:txBody>
          <a:bodyPr/>
          <a:lstStyle>
            <a:lvl1pPr algn="l">
              <a:lnSpc>
                <a:spcPct val="68000"/>
              </a:lnSpc>
              <a:defRPr sz="5400" spc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2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4F4184B-9550-40D7-936D-B86CC4EFAE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6008" y="267970"/>
            <a:ext cx="6331984" cy="4004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7566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ckblatt_Spicke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7"/>
          <p:cNvSpPr txBox="1">
            <a:spLocks/>
          </p:cNvSpPr>
          <p:nvPr userDrawn="1"/>
        </p:nvSpPr>
        <p:spPr>
          <a:xfrm>
            <a:off x="1430030" y="1610060"/>
            <a:ext cx="7030403" cy="857250"/>
          </a:xfrm>
          <a:prstGeom prst="rect">
            <a:avLst/>
          </a:prstGeom>
        </p:spPr>
        <p:txBody>
          <a:bodyPr/>
          <a:lstStyle>
            <a:lvl1pPr algn="l">
              <a:lnSpc>
                <a:spcPct val="68000"/>
              </a:lnSpc>
              <a:defRPr sz="5400" spc="0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2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9" name="Inhaltsplatzhalter 18"/>
          <p:cNvSpPr>
            <a:spLocks noGrp="1"/>
          </p:cNvSpPr>
          <p:nvPr>
            <p:ph sz="quarter" idx="10" hasCustomPrompt="1"/>
          </p:nvPr>
        </p:nvSpPr>
        <p:spPr>
          <a:xfrm>
            <a:off x="501122" y="2385060"/>
            <a:ext cx="8168744" cy="7450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>
                <a:latin typeface="HelveticaNeueLT Std Blk" panose="020B0904020202020204" pitchFamily="34" charset="0"/>
              </a:defRPr>
            </a:lvl1pPr>
          </a:lstStyle>
          <a:p>
            <a:pPr lvl="0"/>
            <a:r>
              <a:rPr lang="de-DE" dirty="0"/>
              <a:t>Untertitel</a:t>
            </a:r>
            <a:endParaRPr lang="de-CH" dirty="0"/>
          </a:p>
        </p:txBody>
      </p:sp>
      <p:sp>
        <p:nvSpPr>
          <p:cNvPr id="20" name="Inhaltsplatzhalter 18"/>
          <p:cNvSpPr>
            <a:spLocks noGrp="1"/>
          </p:cNvSpPr>
          <p:nvPr>
            <p:ph sz="quarter" idx="11" hasCustomPrompt="1"/>
          </p:nvPr>
        </p:nvSpPr>
        <p:spPr>
          <a:xfrm>
            <a:off x="501122" y="1253137"/>
            <a:ext cx="8168745" cy="858600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None/>
              <a:defRPr sz="5400">
                <a:latin typeface="HelveticaNeueLT Std Blk" panose="020B09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2" name="Textfeld 1">
            <a:extLst>
              <a:ext uri="{FF2B5EF4-FFF2-40B4-BE49-F238E27FC236}">
                <a16:creationId xmlns:a16="http://schemas.microsoft.com/office/drawing/2014/main" id="{3E95FF4C-E56B-4C2F-835B-F371A92F04A6}"/>
              </a:ext>
            </a:extLst>
          </p:cNvPr>
          <p:cNvSpPr txBox="1"/>
          <p:nvPr userDrawn="1"/>
        </p:nvSpPr>
        <p:spPr>
          <a:xfrm>
            <a:off x="7785376" y="4858004"/>
            <a:ext cx="136815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de-CH" sz="800" dirty="0">
                <a:latin typeface="HelveticaNeueLT Std" panose="020B0604020202020204" pitchFamily="34" charset="0"/>
              </a:rPr>
              <a:t>Folie </a:t>
            </a:r>
            <a:fld id="{60BDAFAF-1E37-48E6-A2E3-26D5C544C10D}" type="slidenum">
              <a:rPr lang="de-CH" sz="800" smtClean="0">
                <a:latin typeface="HelveticaNeueLT Std" panose="020B0604020202020204" pitchFamily="34" charset="0"/>
              </a:rPr>
              <a:pPr marL="0" indent="0"/>
              <a:t>‹Nr.›</a:t>
            </a:fld>
            <a:endParaRPr lang="de-CH" sz="800" dirty="0">
              <a:latin typeface="HelveticaNeueLT Std" panose="020B0604020202020204" pitchFamily="34" charset="0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262B63C-5792-4B14-9A8C-C2E91F0918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122" y="4858004"/>
            <a:ext cx="343407" cy="217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8777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Kapiteltrenner_Zwischen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9" y="1196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196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9"/>
          <p:cNvSpPr>
            <a:spLocks noGrp="1"/>
          </p:cNvSpPr>
          <p:nvPr>
            <p:ph type="title" hasCustomPrompt="1"/>
          </p:nvPr>
        </p:nvSpPr>
        <p:spPr>
          <a:xfrm>
            <a:off x="501122" y="971086"/>
            <a:ext cx="8240424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rIns="108000">
            <a:spAutoFit/>
          </a:bodyPr>
          <a:lstStyle>
            <a:lvl1pPr algn="l">
              <a:defRPr sz="2400">
                <a:solidFill>
                  <a:schemeClr val="tx1"/>
                </a:solidFill>
                <a:latin typeface="HelveticaNeueLT Std Blk" panose="020B0904020202020204" pitchFamily="34" charset="0"/>
              </a:defRPr>
            </a:lvl1pPr>
          </a:lstStyle>
          <a:p>
            <a:r>
              <a:rPr lang="de-DE" dirty="0"/>
              <a:t>Kapitel Titel aus Agenda / Inhaltsverzeichnis</a:t>
            </a:r>
            <a:endParaRPr lang="de-CH" dirty="0"/>
          </a:p>
        </p:txBody>
      </p:sp>
      <p:sp>
        <p:nvSpPr>
          <p:cNvPr id="26" name="Textfeld 1">
            <a:extLst>
              <a:ext uri="{FF2B5EF4-FFF2-40B4-BE49-F238E27FC236}">
                <a16:creationId xmlns:a16="http://schemas.microsoft.com/office/drawing/2014/main" id="{E4088DAE-273F-4AFC-9C01-152FE98DB459}"/>
              </a:ext>
            </a:extLst>
          </p:cNvPr>
          <p:cNvSpPr txBox="1"/>
          <p:nvPr userDrawn="1"/>
        </p:nvSpPr>
        <p:spPr>
          <a:xfrm>
            <a:off x="7785376" y="4858004"/>
            <a:ext cx="136815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de-CH" sz="800" dirty="0">
                <a:latin typeface="HelveticaNeueLT Std" panose="020B0604020202020204" pitchFamily="34" charset="0"/>
              </a:rPr>
              <a:t>Folie </a:t>
            </a:r>
            <a:fld id="{60BDAFAF-1E37-48E6-A2E3-26D5C544C10D}" type="slidenum">
              <a:rPr lang="de-CH" sz="800" smtClean="0">
                <a:latin typeface="HelveticaNeueLT Std" panose="020B0604020202020204" pitchFamily="34" charset="0"/>
              </a:rPr>
              <a:pPr marL="0" indent="0"/>
              <a:t>‹Nr.›</a:t>
            </a:fld>
            <a:endParaRPr lang="de-CH" sz="800" dirty="0">
              <a:latin typeface="HelveticaNeueLT Std" panose="020B0604020202020204" pitchFamily="34" charset="0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C2A2EBF4-BB7E-40F9-82C0-5C1BD6AC5F9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122" y="4858004"/>
            <a:ext cx="343407" cy="217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6404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Arbeitsblat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9" y="1196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196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9"/>
          <p:cNvSpPr>
            <a:spLocks noGrp="1"/>
          </p:cNvSpPr>
          <p:nvPr>
            <p:ph type="title" hasCustomPrompt="1"/>
          </p:nvPr>
        </p:nvSpPr>
        <p:spPr>
          <a:xfrm>
            <a:off x="501122" y="929617"/>
            <a:ext cx="8136851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rIns="72000">
            <a:spAutoFit/>
          </a:bodyPr>
          <a:lstStyle>
            <a:lvl1pPr algn="l">
              <a:defRPr sz="2400" baseline="0">
                <a:solidFill>
                  <a:schemeClr val="tx1"/>
                </a:solidFill>
                <a:latin typeface="HelveticaNeueLT Std Blk" panose="020B0904020202020204" pitchFamily="34" charset="0"/>
              </a:defRPr>
            </a:lvl1pPr>
          </a:lstStyle>
          <a:p>
            <a:r>
              <a:rPr lang="de-DE" dirty="0"/>
              <a:t>(</a:t>
            </a:r>
            <a:r>
              <a:rPr lang="de-DE" dirty="0" err="1"/>
              <a:t>Prio</a:t>
            </a:r>
            <a:r>
              <a:rPr lang="de-DE" dirty="0"/>
              <a:t> 1) Untertitel </a:t>
            </a:r>
            <a:r>
              <a:rPr lang="de-DE" dirty="0" err="1"/>
              <a:t>Prio</a:t>
            </a:r>
            <a:r>
              <a:rPr lang="de-DE" dirty="0"/>
              <a:t> 2 Haupttitel</a:t>
            </a:r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01122" y="1851025"/>
            <a:ext cx="8137525" cy="2881313"/>
          </a:xfrm>
          <a:prstGeom prst="rect">
            <a:avLst/>
          </a:prstGeom>
        </p:spPr>
        <p:txBody>
          <a:bodyPr lIns="0"/>
          <a:lstStyle>
            <a:lvl1pPr>
              <a:defRPr sz="1600">
                <a:latin typeface="HelveticaNeueLT Std" panose="020B0604020202020204" pitchFamily="34" charset="0"/>
              </a:defRPr>
            </a:lvl1pPr>
            <a:lvl2pPr>
              <a:defRPr sz="1600">
                <a:latin typeface="HelveticaNeueLT Std" panose="020B0604020202020204" pitchFamily="34" charset="0"/>
              </a:defRPr>
            </a:lvl2pPr>
            <a:lvl3pPr>
              <a:defRPr sz="1600">
                <a:latin typeface="HelveticaNeueLT Std" panose="020B0604020202020204" pitchFamily="34" charset="0"/>
              </a:defRPr>
            </a:lvl3pPr>
            <a:lvl4pPr>
              <a:defRPr sz="1600">
                <a:latin typeface="HelveticaNeueLT Std" panose="020B0604020202020204" pitchFamily="34" charset="0"/>
              </a:defRPr>
            </a:lvl4pPr>
            <a:lvl5pPr>
              <a:defRPr sz="1600">
                <a:latin typeface="HelveticaNeueLT Std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29" name="Textfeld 1">
            <a:extLst>
              <a:ext uri="{FF2B5EF4-FFF2-40B4-BE49-F238E27FC236}">
                <a16:creationId xmlns:a16="http://schemas.microsoft.com/office/drawing/2014/main" id="{89C936F6-C9F7-46AF-AE4A-735549441612}"/>
              </a:ext>
            </a:extLst>
          </p:cNvPr>
          <p:cNvSpPr txBox="1"/>
          <p:nvPr userDrawn="1"/>
        </p:nvSpPr>
        <p:spPr>
          <a:xfrm>
            <a:off x="7785376" y="4858004"/>
            <a:ext cx="136815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de-CH" sz="800" dirty="0">
                <a:latin typeface="HelveticaNeueLT Std" panose="020B0604020202020204" pitchFamily="34" charset="0"/>
              </a:rPr>
              <a:t>Folie </a:t>
            </a:r>
            <a:fld id="{60BDAFAF-1E37-48E6-A2E3-26D5C544C10D}" type="slidenum">
              <a:rPr lang="de-CH" sz="800" smtClean="0">
                <a:latin typeface="HelveticaNeueLT Std" panose="020B0604020202020204" pitchFamily="34" charset="0"/>
              </a:rPr>
              <a:pPr marL="0" indent="0"/>
              <a:t>‹Nr.›</a:t>
            </a:fld>
            <a:endParaRPr lang="de-CH" sz="800" dirty="0">
              <a:latin typeface="HelveticaNeueLT Std" panose="020B0604020202020204" pitchFamily="34" charset="0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5B4C9B7-4032-4BF1-9007-24A0895C5D2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122" y="4858004"/>
            <a:ext cx="343407" cy="217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2426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9F9">
            <a:alpha val="87451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77" r:id="rId3"/>
    <p:sldLayoutId id="2147483678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svg"/><Relationship Id="rId7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11" Type="http://schemas.openxmlformats.org/officeDocument/2006/relationships/image" Target="../media/image13.svg"/><Relationship Id="rId5" Type="http://schemas.openxmlformats.org/officeDocument/2006/relationships/image" Target="../media/image7.sv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svg"/><Relationship Id="rId7" Type="http://schemas.openxmlformats.org/officeDocument/2006/relationships/image" Target="../media/image19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8.png"/><Relationship Id="rId11" Type="http://schemas.openxmlformats.org/officeDocument/2006/relationships/image" Target="../media/image23.svg"/><Relationship Id="rId5" Type="http://schemas.openxmlformats.org/officeDocument/2006/relationships/image" Target="../media/image17.sv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ehb.swiss/berufsauswertungen?_gl=1*2tv7p5*_up*MQ..*_ga*OTIyMTEwNzQ1LjE2OTg5OTk3ODE.*_ga_2L0TGBZVHC*MTY5ODk5OTc4MS4xLjAuMTY5ODk5OTc4MS4wLjAuMA.." TargetMode="Externa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32E72B0C-017A-4B20-BA76-BE09E0A1BB03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CH" dirty="0"/>
              <a:t>Sitzung vom </a:t>
            </a:r>
            <a:r>
              <a:rPr lang="de-CH" dirty="0" err="1"/>
              <a:t>xy</a:t>
            </a:r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r>
              <a:rPr lang="de-CH" dirty="0"/>
              <a:t>Name </a:t>
            </a:r>
            <a:r>
              <a:rPr lang="de-CH" dirty="0" err="1"/>
              <a:t>PräsentatorIn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BDC9774-9483-45BE-8174-6B28F533267B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de-CH" dirty="0"/>
              <a:t>Einführung </a:t>
            </a:r>
            <a:r>
              <a:rPr lang="de-CH" i="1" dirty="0"/>
              <a:t>Lehrberuf</a:t>
            </a:r>
            <a:br>
              <a:rPr lang="de-CH" i="1" dirty="0"/>
            </a:br>
            <a:r>
              <a:rPr lang="de-CH" sz="4000" dirty="0"/>
              <a:t>MUSTER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162210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2BA5CB-C0EF-4EDA-B148-B482CE569637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de-CH" dirty="0"/>
              <a:t>Inhaltsverzeichnis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F5E01BB-E036-4FB0-BF3A-7C7100A163BE}"/>
              </a:ext>
            </a:extLst>
          </p:cNvPr>
          <p:cNvSpPr/>
          <p:nvPr/>
        </p:nvSpPr>
        <p:spPr>
          <a:xfrm>
            <a:off x="501122" y="1556126"/>
            <a:ext cx="1440000" cy="3003886"/>
          </a:xfrm>
          <a:prstGeom prst="rect">
            <a:avLst/>
          </a:prstGeom>
          <a:solidFill>
            <a:srgbClr val="F1F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CH" sz="4400" dirty="0">
                <a:solidFill>
                  <a:srgbClr val="0000FF"/>
                </a:solidFill>
                <a:latin typeface="HelveticaNeueLT Std Blk" panose="020B0904020202020204" pitchFamily="34" charset="0"/>
              </a:rPr>
              <a:t>1</a:t>
            </a:r>
            <a:endParaRPr lang="de-CH" sz="3200" dirty="0">
              <a:solidFill>
                <a:srgbClr val="0000FF"/>
              </a:solidFill>
              <a:latin typeface="HelveticaNeueLT Std Blk" panose="020B0904020202020204" pitchFamily="34" charset="0"/>
            </a:endParaRPr>
          </a:p>
          <a:p>
            <a:endParaRPr lang="de-CH" dirty="0">
              <a:solidFill>
                <a:schemeClr val="tx1"/>
              </a:solidFill>
              <a:latin typeface="HelveticaNeueLT Std Blk" panose="020B0904020202020204" pitchFamily="34" charset="0"/>
            </a:endParaRPr>
          </a:p>
          <a:p>
            <a:endParaRPr lang="de-CH" dirty="0">
              <a:solidFill>
                <a:schemeClr val="tx1"/>
              </a:solidFill>
              <a:latin typeface="HelveticaNeueLT Std Blk" panose="020B0904020202020204" pitchFamily="34" charset="0"/>
            </a:endParaRPr>
          </a:p>
          <a:p>
            <a:endParaRPr lang="de-CH" sz="1400" dirty="0">
              <a:solidFill>
                <a:schemeClr val="tx1"/>
              </a:solidFill>
              <a:latin typeface="HelveticaNeueLT Std Blk" panose="020B0904020202020204" pitchFamily="34" charset="0"/>
            </a:endParaRPr>
          </a:p>
          <a:p>
            <a:endParaRPr lang="de-CH" sz="1400" dirty="0">
              <a:solidFill>
                <a:schemeClr val="tx1"/>
              </a:solidFill>
              <a:latin typeface="HelveticaNeueLT Std Blk" panose="020B0904020202020204" pitchFamily="34" charset="0"/>
            </a:endParaRPr>
          </a:p>
          <a:p>
            <a:r>
              <a:rPr lang="de-CH" sz="1400" dirty="0">
                <a:solidFill>
                  <a:schemeClr val="tx1"/>
                </a:solidFill>
                <a:latin typeface="HelveticaNeueLT Std Blk" panose="020B0904020202020204" pitchFamily="34" charset="0"/>
              </a:rPr>
              <a:t>Ausgangs-lage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80907AA-6E85-4078-805E-E7DBA9884165}"/>
              </a:ext>
            </a:extLst>
          </p:cNvPr>
          <p:cNvSpPr/>
          <p:nvPr/>
        </p:nvSpPr>
        <p:spPr>
          <a:xfrm>
            <a:off x="2201228" y="1556126"/>
            <a:ext cx="1440000" cy="3004399"/>
          </a:xfrm>
          <a:prstGeom prst="rect">
            <a:avLst/>
          </a:prstGeom>
          <a:solidFill>
            <a:srgbClr val="F4F1FF"/>
          </a:solidFill>
          <a:ln>
            <a:solidFill>
              <a:srgbClr val="F4F1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CH" sz="4400" dirty="0">
                <a:solidFill>
                  <a:srgbClr val="5E0E99"/>
                </a:solidFill>
                <a:latin typeface="HelveticaNeueLT Std Blk" panose="020B0904020202020204" pitchFamily="34" charset="0"/>
              </a:rPr>
              <a:t>2</a:t>
            </a:r>
            <a:endParaRPr lang="de-CH" sz="3200" dirty="0">
              <a:solidFill>
                <a:srgbClr val="5E0E99"/>
              </a:solidFill>
              <a:latin typeface="HelveticaNeueLT Std Blk" panose="020B0904020202020204" pitchFamily="34" charset="0"/>
            </a:endParaRPr>
          </a:p>
          <a:p>
            <a:endParaRPr lang="de-CH" dirty="0">
              <a:solidFill>
                <a:schemeClr val="tx1"/>
              </a:solidFill>
              <a:latin typeface="HelveticaNeueLT Std Blk" panose="020B0904020202020204" pitchFamily="34" charset="0"/>
            </a:endParaRPr>
          </a:p>
          <a:p>
            <a:endParaRPr lang="de-CH" dirty="0">
              <a:solidFill>
                <a:schemeClr val="tx1"/>
              </a:solidFill>
              <a:latin typeface="HelveticaNeueLT Std Blk" panose="020B0904020202020204" pitchFamily="34" charset="0"/>
            </a:endParaRPr>
          </a:p>
          <a:p>
            <a:endParaRPr lang="de-CH" sz="1400" dirty="0">
              <a:solidFill>
                <a:schemeClr val="tx1"/>
              </a:solidFill>
              <a:latin typeface="HelveticaNeueLT Std Blk" panose="020B0904020202020204" pitchFamily="34" charset="0"/>
            </a:endParaRPr>
          </a:p>
          <a:p>
            <a:endParaRPr lang="de-CH" sz="1400" dirty="0">
              <a:solidFill>
                <a:schemeClr val="tx1"/>
              </a:solidFill>
              <a:latin typeface="HelveticaNeueLT Std Blk" panose="020B0904020202020204" pitchFamily="34" charset="0"/>
            </a:endParaRPr>
          </a:p>
          <a:p>
            <a:r>
              <a:rPr lang="de-CH" sz="1400" dirty="0">
                <a:solidFill>
                  <a:schemeClr val="tx1"/>
                </a:solidFill>
                <a:latin typeface="HelveticaNeueLT Std Blk" panose="020B0904020202020204" pitchFamily="34" charset="0"/>
              </a:rPr>
              <a:t>Ziele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4E803DB-1E73-4C16-B966-F269625A1D5A}"/>
              </a:ext>
            </a:extLst>
          </p:cNvPr>
          <p:cNvSpPr/>
          <p:nvPr/>
        </p:nvSpPr>
        <p:spPr>
          <a:xfrm>
            <a:off x="3901334" y="1555613"/>
            <a:ext cx="1440000" cy="3004399"/>
          </a:xfrm>
          <a:prstGeom prst="rect">
            <a:avLst/>
          </a:prstGeom>
          <a:solidFill>
            <a:srgbClr val="F4FAFC"/>
          </a:solidFill>
          <a:ln>
            <a:solidFill>
              <a:srgbClr val="F4FA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CH" sz="4400" dirty="0">
                <a:solidFill>
                  <a:srgbClr val="008080"/>
                </a:solidFill>
                <a:latin typeface="HelveticaNeueLT Std Blk" panose="020B0904020202020204" pitchFamily="34" charset="0"/>
              </a:rPr>
              <a:t>3</a:t>
            </a:r>
            <a:endParaRPr lang="de-CH" sz="3200" dirty="0">
              <a:solidFill>
                <a:srgbClr val="008080"/>
              </a:solidFill>
              <a:latin typeface="HelveticaNeueLT Std Blk" panose="020B0904020202020204" pitchFamily="34" charset="0"/>
            </a:endParaRPr>
          </a:p>
          <a:p>
            <a:endParaRPr lang="de-CH" dirty="0">
              <a:solidFill>
                <a:schemeClr val="tx1"/>
              </a:solidFill>
              <a:latin typeface="HelveticaNeueLT Std Blk" panose="020B0904020202020204" pitchFamily="34" charset="0"/>
            </a:endParaRPr>
          </a:p>
          <a:p>
            <a:endParaRPr lang="de-CH" dirty="0">
              <a:solidFill>
                <a:schemeClr val="tx1"/>
              </a:solidFill>
              <a:latin typeface="HelveticaNeueLT Std Blk" panose="020B0904020202020204" pitchFamily="34" charset="0"/>
            </a:endParaRPr>
          </a:p>
          <a:p>
            <a:endParaRPr lang="de-CH" sz="1400" dirty="0">
              <a:solidFill>
                <a:schemeClr val="tx1"/>
              </a:solidFill>
              <a:latin typeface="HelveticaNeueLT Std Blk" panose="020B0904020202020204" pitchFamily="34" charset="0"/>
            </a:endParaRPr>
          </a:p>
          <a:p>
            <a:endParaRPr lang="de-CH" sz="1400" dirty="0">
              <a:solidFill>
                <a:schemeClr val="tx1"/>
              </a:solidFill>
              <a:latin typeface="HelveticaNeueLT Std Blk" panose="020B0904020202020204" pitchFamily="34" charset="0"/>
            </a:endParaRPr>
          </a:p>
          <a:p>
            <a:r>
              <a:rPr lang="de-CH" sz="1400" dirty="0">
                <a:solidFill>
                  <a:schemeClr val="tx1"/>
                </a:solidFill>
                <a:latin typeface="HelveticaNeueLT Std Blk" panose="020B0904020202020204" pitchFamily="34" charset="0"/>
              </a:rPr>
              <a:t>Vorteile durch Ausbildung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614A9E4C-BAFB-4401-85EA-6C0CA9FD2D30}"/>
              </a:ext>
            </a:extLst>
          </p:cNvPr>
          <p:cNvSpPr/>
          <p:nvPr/>
        </p:nvSpPr>
        <p:spPr>
          <a:xfrm>
            <a:off x="5601440" y="1555613"/>
            <a:ext cx="1440000" cy="3004399"/>
          </a:xfrm>
          <a:prstGeom prst="rect">
            <a:avLst/>
          </a:prstGeom>
          <a:solidFill>
            <a:srgbClr val="EEF1F4"/>
          </a:solidFill>
          <a:ln>
            <a:solidFill>
              <a:srgbClr val="EEF1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CH" sz="4400" dirty="0">
                <a:solidFill>
                  <a:srgbClr val="3B5777"/>
                </a:solidFill>
                <a:latin typeface="HelveticaNeueLT Std Blk" panose="020B0904020202020204" pitchFamily="34" charset="0"/>
              </a:rPr>
              <a:t>4</a:t>
            </a:r>
            <a:endParaRPr lang="de-CH" sz="3200" dirty="0">
              <a:solidFill>
                <a:srgbClr val="3B5777"/>
              </a:solidFill>
              <a:latin typeface="HelveticaNeueLT Std Blk" panose="020B0904020202020204" pitchFamily="34" charset="0"/>
            </a:endParaRPr>
          </a:p>
          <a:p>
            <a:endParaRPr lang="de-CH" dirty="0">
              <a:solidFill>
                <a:schemeClr val="tx1"/>
              </a:solidFill>
              <a:latin typeface="HelveticaNeueLT Std Blk" panose="020B0904020202020204" pitchFamily="34" charset="0"/>
            </a:endParaRPr>
          </a:p>
          <a:p>
            <a:endParaRPr lang="de-CH" dirty="0">
              <a:solidFill>
                <a:schemeClr val="tx1"/>
              </a:solidFill>
              <a:latin typeface="HelveticaNeueLT Std Blk" panose="020B0904020202020204" pitchFamily="34" charset="0"/>
            </a:endParaRPr>
          </a:p>
          <a:p>
            <a:endParaRPr lang="de-CH" sz="1400" dirty="0">
              <a:solidFill>
                <a:schemeClr val="tx1"/>
              </a:solidFill>
              <a:latin typeface="HelveticaNeueLT Std Blk" panose="020B0904020202020204" pitchFamily="34" charset="0"/>
            </a:endParaRPr>
          </a:p>
          <a:p>
            <a:endParaRPr lang="de-CH" sz="1400" dirty="0">
              <a:solidFill>
                <a:schemeClr val="tx1"/>
              </a:solidFill>
              <a:latin typeface="HelveticaNeueLT Std Blk" panose="020B0904020202020204" pitchFamily="34" charset="0"/>
            </a:endParaRPr>
          </a:p>
          <a:p>
            <a:r>
              <a:rPr lang="de-CH" sz="1400" dirty="0">
                <a:solidFill>
                  <a:schemeClr val="tx1"/>
                </a:solidFill>
                <a:latin typeface="HelveticaNeueLT Std Blk" panose="020B0904020202020204" pitchFamily="34" charset="0"/>
              </a:rPr>
              <a:t>Ressourcen-bedarf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727DDD83-46B8-452E-9D07-9382A745C046}"/>
              </a:ext>
            </a:extLst>
          </p:cNvPr>
          <p:cNvSpPr/>
          <p:nvPr/>
        </p:nvSpPr>
        <p:spPr>
          <a:xfrm>
            <a:off x="7301546" y="1555613"/>
            <a:ext cx="1440000" cy="3004399"/>
          </a:xfrm>
          <a:prstGeom prst="rect">
            <a:avLst/>
          </a:prstGeom>
          <a:solidFill>
            <a:srgbClr val="F5F2F4"/>
          </a:solidFill>
          <a:ln>
            <a:solidFill>
              <a:srgbClr val="F5F2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CH" sz="4400" dirty="0">
                <a:solidFill>
                  <a:srgbClr val="C93600"/>
                </a:solidFill>
                <a:latin typeface="HelveticaNeueLT Std Blk" panose="020B0904020202020204" pitchFamily="34" charset="0"/>
              </a:rPr>
              <a:t>5</a:t>
            </a:r>
            <a:endParaRPr lang="de-CH" sz="3200" dirty="0">
              <a:solidFill>
                <a:srgbClr val="C93600"/>
              </a:solidFill>
              <a:latin typeface="HelveticaNeueLT Std Blk" panose="020B0904020202020204" pitchFamily="34" charset="0"/>
            </a:endParaRPr>
          </a:p>
          <a:p>
            <a:endParaRPr lang="de-CH" dirty="0">
              <a:solidFill>
                <a:schemeClr val="tx1"/>
              </a:solidFill>
              <a:latin typeface="HelveticaNeueLT Std Blk" panose="020B0904020202020204" pitchFamily="34" charset="0"/>
            </a:endParaRPr>
          </a:p>
          <a:p>
            <a:endParaRPr lang="de-CH" dirty="0">
              <a:solidFill>
                <a:schemeClr val="tx1"/>
              </a:solidFill>
              <a:latin typeface="HelveticaNeueLT Std Blk" panose="020B0904020202020204" pitchFamily="34" charset="0"/>
            </a:endParaRPr>
          </a:p>
          <a:p>
            <a:endParaRPr lang="de-CH" sz="1400" dirty="0">
              <a:solidFill>
                <a:schemeClr val="tx1"/>
              </a:solidFill>
              <a:latin typeface="HelveticaNeueLT Std Blk" panose="020B0904020202020204" pitchFamily="34" charset="0"/>
            </a:endParaRPr>
          </a:p>
          <a:p>
            <a:endParaRPr lang="de-CH" sz="1400" dirty="0">
              <a:solidFill>
                <a:schemeClr val="tx1"/>
              </a:solidFill>
              <a:latin typeface="HelveticaNeueLT Std Blk" panose="020B0904020202020204" pitchFamily="34" charset="0"/>
            </a:endParaRPr>
          </a:p>
          <a:p>
            <a:r>
              <a:rPr lang="de-CH" sz="1400" dirty="0">
                <a:solidFill>
                  <a:schemeClr val="tx1"/>
                </a:solidFill>
                <a:latin typeface="HelveticaNeueLT Std Blk" panose="020B0904020202020204" pitchFamily="34" charset="0"/>
              </a:rPr>
              <a:t>Antrag</a:t>
            </a:r>
          </a:p>
        </p:txBody>
      </p:sp>
      <p:pic>
        <p:nvPicPr>
          <p:cNvPr id="6" name="Grafik 5" descr="Volltreffer">
            <a:extLst>
              <a:ext uri="{FF2B5EF4-FFF2-40B4-BE49-F238E27FC236}">
                <a16:creationId xmlns:a16="http://schemas.microsoft.com/office/drawing/2014/main" id="{F708C14E-6D37-414B-B34D-80D30EF534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01228" y="2293047"/>
            <a:ext cx="720000" cy="720000"/>
          </a:xfrm>
          <a:prstGeom prst="rect">
            <a:avLst/>
          </a:prstGeom>
        </p:spPr>
      </p:pic>
      <p:pic>
        <p:nvPicPr>
          <p:cNvPr id="10" name="Grafik 9" descr="Marker">
            <a:extLst>
              <a:ext uri="{FF2B5EF4-FFF2-40B4-BE49-F238E27FC236}">
                <a16:creationId xmlns:a16="http://schemas.microsoft.com/office/drawing/2014/main" id="{FE48A957-285B-450D-97B6-CA62BE0F7F9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1122" y="2293047"/>
            <a:ext cx="720000" cy="720000"/>
          </a:xfrm>
          <a:prstGeom prst="rect">
            <a:avLst/>
          </a:prstGeom>
        </p:spPr>
      </p:pic>
      <p:pic>
        <p:nvPicPr>
          <p:cNvPr id="15" name="Grafik 14" descr="Ladender Akku">
            <a:extLst>
              <a:ext uri="{FF2B5EF4-FFF2-40B4-BE49-F238E27FC236}">
                <a16:creationId xmlns:a16="http://schemas.microsoft.com/office/drawing/2014/main" id="{235C5F7D-2FEA-4FC2-AE25-0E828576031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967040" y="2195847"/>
            <a:ext cx="914400" cy="914400"/>
          </a:xfrm>
          <a:prstGeom prst="rect">
            <a:avLst/>
          </a:prstGeom>
        </p:spPr>
      </p:pic>
      <p:pic>
        <p:nvPicPr>
          <p:cNvPr id="20" name="Grafik 19" descr="Puzzleteile">
            <a:extLst>
              <a:ext uri="{FF2B5EF4-FFF2-40B4-BE49-F238E27FC236}">
                <a16:creationId xmlns:a16="http://schemas.microsoft.com/office/drawing/2014/main" id="{666EEC62-E998-49FD-98BE-DB9F8CC3E04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301546" y="2143412"/>
            <a:ext cx="914400" cy="914400"/>
          </a:xfrm>
          <a:prstGeom prst="rect">
            <a:avLst/>
          </a:prstGeom>
        </p:spPr>
      </p:pic>
      <p:pic>
        <p:nvPicPr>
          <p:cNvPr id="24" name="Grafik 23" descr="Taschenrechner">
            <a:extLst>
              <a:ext uri="{FF2B5EF4-FFF2-40B4-BE49-F238E27FC236}">
                <a16:creationId xmlns:a16="http://schemas.microsoft.com/office/drawing/2014/main" id="{99B14D11-E5CF-4F9B-B01D-30AFE26A84C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01440" y="2293047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837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4BF211CF-C475-4B80-A10B-5576A6CFF862}"/>
              </a:ext>
            </a:extLst>
          </p:cNvPr>
          <p:cNvSpPr/>
          <p:nvPr/>
        </p:nvSpPr>
        <p:spPr>
          <a:xfrm>
            <a:off x="593271" y="4242738"/>
            <a:ext cx="8318612" cy="489600"/>
          </a:xfrm>
          <a:prstGeom prst="rect">
            <a:avLst/>
          </a:prstGeom>
          <a:solidFill>
            <a:srgbClr val="F3F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24DA533-7382-4920-8725-1EF9ED8E63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tabLst>
                <a:tab pos="541338" algn="l"/>
              </a:tabLst>
            </a:pPr>
            <a:r>
              <a:rPr lang="de-CH" dirty="0">
                <a:solidFill>
                  <a:srgbClr val="0000FF"/>
                </a:solidFill>
              </a:rPr>
              <a:t>1</a:t>
            </a:r>
            <a:r>
              <a:rPr lang="de-CH" dirty="0"/>
              <a:t> 	Ausgangslag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95F9913-26B5-44DA-95C8-758CF369BBA8}"/>
              </a:ext>
            </a:extLst>
          </p:cNvPr>
          <p:cNvSpPr/>
          <p:nvPr/>
        </p:nvSpPr>
        <p:spPr>
          <a:xfrm>
            <a:off x="501122" y="4241201"/>
            <a:ext cx="92149" cy="491137"/>
          </a:xfrm>
          <a:prstGeom prst="rect">
            <a:avLst/>
          </a:prstGeom>
          <a:solidFill>
            <a:srgbClr val="0000FF"/>
          </a:solidFill>
          <a:ln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590E87FB-3865-4CC0-8AC1-C335D27EB6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7128409"/>
              </p:ext>
            </p:extLst>
          </p:nvPr>
        </p:nvGraphicFramePr>
        <p:xfrm>
          <a:off x="288388" y="1561054"/>
          <a:ext cx="8468749" cy="26338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44990">
                  <a:extLst>
                    <a:ext uri="{9D8B030D-6E8A-4147-A177-3AD203B41FA5}">
                      <a16:colId xmlns:a16="http://schemas.microsoft.com/office/drawing/2014/main" val="349785313"/>
                    </a:ext>
                  </a:extLst>
                </a:gridCol>
                <a:gridCol w="3474720">
                  <a:extLst>
                    <a:ext uri="{9D8B030D-6E8A-4147-A177-3AD203B41FA5}">
                      <a16:colId xmlns:a16="http://schemas.microsoft.com/office/drawing/2014/main" val="207060456"/>
                    </a:ext>
                  </a:extLst>
                </a:gridCol>
                <a:gridCol w="3749039">
                  <a:extLst>
                    <a:ext uri="{9D8B030D-6E8A-4147-A177-3AD203B41FA5}">
                      <a16:colId xmlns:a16="http://schemas.microsoft.com/office/drawing/2014/main" val="3452378849"/>
                    </a:ext>
                  </a:extLst>
                </a:gridCol>
              </a:tblGrid>
              <a:tr h="1262267">
                <a:tc>
                  <a:txBody>
                    <a:bodyPr/>
                    <a:lstStyle/>
                    <a:p>
                      <a:r>
                        <a:rPr lang="de-CH" sz="1200" b="0" dirty="0">
                          <a:solidFill>
                            <a:schemeClr val="tx1"/>
                          </a:solidFill>
                          <a:latin typeface="HelveticaNeueLT Std" panose="020B0604020202020204" pitchFamily="34" charset="0"/>
                        </a:rPr>
                        <a:t>Unternehmens-analyse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CH" sz="1200" b="1" dirty="0">
                          <a:solidFill>
                            <a:schemeClr val="bg1"/>
                          </a:solidFill>
                          <a:latin typeface="HelveticaNeueLT Std" panose="020B0604020202020204" pitchFamily="34" charset="0"/>
                        </a:rPr>
                        <a:t>Stärke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CH" sz="1200" b="0" dirty="0">
                          <a:solidFill>
                            <a:schemeClr val="bg1"/>
                          </a:solidFill>
                          <a:latin typeface="HelveticaNeueLT Std" panose="020B0604020202020204" pitchFamily="34" charset="0"/>
                        </a:rPr>
                        <a:t>Wir verfügen über hochqualifizierte Mitarbeitend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CH" sz="1200" b="0" dirty="0">
                          <a:solidFill>
                            <a:schemeClr val="bg1"/>
                          </a:solidFill>
                          <a:latin typeface="HelveticaNeueLT Std" panose="020B0604020202020204" pitchFamily="34" charset="0"/>
                        </a:rPr>
                        <a:t>Unser Unternehmen hat ein gutes Imag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CH" sz="1200" b="0" dirty="0">
                          <a:solidFill>
                            <a:schemeClr val="bg1"/>
                          </a:solidFill>
                          <a:latin typeface="HelveticaNeueLT Std" panose="020B0604020202020204" pitchFamily="34" charset="0"/>
                        </a:rPr>
                        <a:t>Wir haben die finanziellen Ressourcen, um auszubilde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CH" sz="1200" b="0" dirty="0">
                          <a:solidFill>
                            <a:schemeClr val="bg1"/>
                          </a:solidFill>
                          <a:latin typeface="HelveticaNeueLT Std" panose="020B0604020202020204" pitchFamily="34" charset="0"/>
                        </a:rPr>
                        <a:t>Wir sind sehr innovativ</a:t>
                      </a:r>
                    </a:p>
                  </a:txBody>
                  <a:tcPr>
                    <a:solidFill>
                      <a:srgbClr val="00808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200" b="1" dirty="0">
                          <a:solidFill>
                            <a:schemeClr val="bg1"/>
                          </a:solidFill>
                          <a:latin typeface="HelveticaNeueLT Std" panose="020B0604020202020204" pitchFamily="34" charset="0"/>
                        </a:rPr>
                        <a:t>Schwäche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CH" sz="1200" b="0" dirty="0">
                          <a:solidFill>
                            <a:schemeClr val="bg1"/>
                          </a:solidFill>
                          <a:latin typeface="HelveticaNeueLT Std" panose="020B0604020202020204" pitchFamily="34" charset="0"/>
                        </a:rPr>
                        <a:t>Wir bilden keinen Nachwuchs au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CH" sz="1200" b="0" dirty="0">
                          <a:solidFill>
                            <a:schemeClr val="bg1"/>
                          </a:solidFill>
                          <a:latin typeface="HelveticaNeueLT Std" panose="020B0604020202020204" pitchFamily="34" charset="0"/>
                        </a:rPr>
                        <a:t>Andere Unternehmen bieten Lehrstellen au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CH" sz="1200" b="0" dirty="0">
                          <a:solidFill>
                            <a:schemeClr val="bg1"/>
                          </a:solidFill>
                          <a:latin typeface="HelveticaNeueLT Std" panose="020B0604020202020204" pitchFamily="34" charset="0"/>
                        </a:rPr>
                        <a:t>Wir haben sehr viele offene Stelle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CH" sz="1200" b="0" dirty="0">
                          <a:solidFill>
                            <a:schemeClr val="bg1"/>
                          </a:solidFill>
                          <a:latin typeface="HelveticaNeueLT Std" panose="020B0604020202020204" pitchFamily="34" charset="0"/>
                        </a:rPr>
                        <a:t>Die Rekrutierung von Fachkräften dauert lange und kostet viel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de-CH" sz="1200" b="0" dirty="0">
                        <a:solidFill>
                          <a:schemeClr val="bg1"/>
                        </a:solidFill>
                        <a:latin typeface="HelveticaNeueLT Std" panose="020B0604020202020204" pitchFamily="34" charset="0"/>
                      </a:endParaRPr>
                    </a:p>
                  </a:txBody>
                  <a:tcPr>
                    <a:solidFill>
                      <a:srgbClr val="C936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7321988"/>
                  </a:ext>
                </a:extLst>
              </a:tr>
              <a:tr h="1262267">
                <a:tc>
                  <a:txBody>
                    <a:bodyPr/>
                    <a:lstStyle/>
                    <a:p>
                      <a:r>
                        <a:rPr lang="de-CH" sz="1200" b="0" dirty="0">
                          <a:solidFill>
                            <a:schemeClr val="tx1"/>
                          </a:solidFill>
                          <a:latin typeface="HelveticaNeueLT Std" panose="020B0604020202020204" pitchFamily="34" charset="0"/>
                        </a:rPr>
                        <a:t>Umfeldanalyse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CH" sz="1200" b="1" dirty="0">
                          <a:solidFill>
                            <a:schemeClr val="bg1"/>
                          </a:solidFill>
                          <a:latin typeface="HelveticaNeueLT Std" panose="020B0604020202020204" pitchFamily="34" charset="0"/>
                        </a:rPr>
                        <a:t>Chance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CH" sz="1200" b="0" dirty="0">
                          <a:solidFill>
                            <a:schemeClr val="bg1"/>
                          </a:solidFill>
                          <a:latin typeface="HelveticaNeueLT Std" panose="020B0604020202020204" pitchFamily="34" charset="0"/>
                        </a:rPr>
                        <a:t>Ausbildung bringt frischen Wind, neue Ideen, neue Technologie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CH" sz="1200" b="0" dirty="0">
                          <a:solidFill>
                            <a:schemeClr val="bg1"/>
                          </a:solidFill>
                          <a:latin typeface="HelveticaNeueLT Std" panose="020B0604020202020204" pitchFamily="34" charset="0"/>
                        </a:rPr>
                        <a:t>Unsere Bekanntheit kann gesteigert werde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CH" sz="1200" b="0" dirty="0">
                          <a:solidFill>
                            <a:schemeClr val="bg1"/>
                          </a:solidFill>
                          <a:latin typeface="HelveticaNeueLT Std" panose="020B0604020202020204" pitchFamily="34" charset="0"/>
                        </a:rPr>
                        <a:t>Engagement kann visibel gemacht werde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CH" sz="1200" b="0" dirty="0">
                          <a:solidFill>
                            <a:schemeClr val="bg1"/>
                          </a:solidFill>
                          <a:latin typeface="HelveticaNeueLT Std" panose="020B0604020202020204" pitchFamily="34" charset="0"/>
                        </a:rPr>
                        <a:t>Wir ziehen kompetente Fachkräfte nach</a:t>
                      </a:r>
                    </a:p>
                  </a:txBody>
                  <a:tcPr>
                    <a:solidFill>
                      <a:srgbClr val="3B577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200" b="1" dirty="0">
                          <a:solidFill>
                            <a:schemeClr val="bg1"/>
                          </a:solidFill>
                          <a:latin typeface="HelveticaNeueLT Std" panose="020B0604020202020204" pitchFamily="34" charset="0"/>
                        </a:rPr>
                        <a:t>Risike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CH" sz="1200" b="0" dirty="0">
                          <a:solidFill>
                            <a:schemeClr val="bg1"/>
                          </a:solidFill>
                          <a:latin typeface="HelveticaNeueLT Std" panose="020B0604020202020204" pitchFamily="34" charset="0"/>
                        </a:rPr>
                        <a:t>Die Rekrutierung könnte anfangs länger dauer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CH" sz="1200" b="0" dirty="0">
                          <a:solidFill>
                            <a:schemeClr val="bg1"/>
                          </a:solidFill>
                          <a:latin typeface="HelveticaNeueLT Std" panose="020B0604020202020204" pitchFamily="34" charset="0"/>
                        </a:rPr>
                        <a:t>Die Ausbildung führt bei den AusbildnerInnen zu mehr Zeitdruck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CH" sz="1200" b="0" dirty="0">
                          <a:solidFill>
                            <a:schemeClr val="bg1"/>
                          </a:solidFill>
                          <a:latin typeface="HelveticaNeueLT Std" panose="020B0604020202020204" pitchFamily="34" charset="0"/>
                        </a:rPr>
                        <a:t>Der Fachkräftemangel nimmt zu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CH" sz="1200" b="0" dirty="0">
                          <a:solidFill>
                            <a:schemeClr val="bg1"/>
                          </a:solidFill>
                          <a:latin typeface="HelveticaNeueLT Std" panose="020B0604020202020204" pitchFamily="34" charset="0"/>
                        </a:rPr>
                        <a:t>Bei Ausbildungsschwierigkeiten mehr Aufwand</a:t>
                      </a:r>
                    </a:p>
                  </a:txBody>
                  <a:tcPr>
                    <a:solidFill>
                      <a:srgbClr val="5E0E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4313566"/>
                  </a:ext>
                </a:extLst>
              </a:tr>
            </a:tbl>
          </a:graphicData>
        </a:graphic>
      </p:graphicFrame>
      <p:sp>
        <p:nvSpPr>
          <p:cNvPr id="12" name="Rechteck 11">
            <a:extLst>
              <a:ext uri="{FF2B5EF4-FFF2-40B4-BE49-F238E27FC236}">
                <a16:creationId xmlns:a16="http://schemas.microsoft.com/office/drawing/2014/main" id="{D2DB023E-ACEB-4DA8-9BA7-EF0BDA52165B}"/>
              </a:ext>
            </a:extLst>
          </p:cNvPr>
          <p:cNvSpPr/>
          <p:nvPr/>
        </p:nvSpPr>
        <p:spPr>
          <a:xfrm>
            <a:off x="593271" y="4295594"/>
            <a:ext cx="8318612" cy="3823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1400" dirty="0">
                <a:solidFill>
                  <a:schemeClr val="tx1"/>
                </a:solidFill>
                <a:latin typeface="HelveticaNeueLT Std" panose="020B0604020202020204" pitchFamily="34" charset="0"/>
              </a:rPr>
              <a:t>Die Analyse zeigt, dass sich eine Investition in Nachwuchs lohnen würde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8C5CBE4-DEE6-4F15-BD1C-E9F9B4ED8F03}"/>
              </a:ext>
            </a:extLst>
          </p:cNvPr>
          <p:cNvSpPr/>
          <p:nvPr/>
        </p:nvSpPr>
        <p:spPr>
          <a:xfrm>
            <a:off x="789479" y="980749"/>
            <a:ext cx="45719" cy="180000"/>
          </a:xfrm>
          <a:prstGeom prst="rect">
            <a:avLst/>
          </a:prstGeom>
          <a:solidFill>
            <a:srgbClr val="0000FF"/>
          </a:solidFill>
          <a:ln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719704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49D713-B458-4058-82A8-9C8774FCE4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tabLst>
                <a:tab pos="541338" algn="l"/>
              </a:tabLst>
            </a:pPr>
            <a:r>
              <a:rPr lang="de-CH" dirty="0">
                <a:solidFill>
                  <a:srgbClr val="5E0E99"/>
                </a:solidFill>
              </a:rPr>
              <a:t>2 	</a:t>
            </a:r>
            <a:r>
              <a:rPr lang="de-CH" dirty="0"/>
              <a:t>Zie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701980D-9E10-4FA1-A241-2E0A0BA11D4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lnSpc>
                <a:spcPct val="150000"/>
              </a:lnSpc>
              <a:buFont typeface="+mj-lt"/>
              <a:buAutoNum type="arabicPeriod"/>
            </a:pPr>
            <a:r>
              <a:rPr lang="de-CH" dirty="0"/>
              <a:t>Einführung vom Lehrberuf XY per Z</a:t>
            </a:r>
          </a:p>
          <a:p>
            <a:pPr>
              <a:lnSpc>
                <a:spcPct val="150000"/>
              </a:lnSpc>
              <a:buFont typeface="+mj-lt"/>
              <a:buAutoNum type="arabicPeriod"/>
            </a:pPr>
            <a:r>
              <a:rPr lang="de-CH" dirty="0"/>
              <a:t>Sicherstellung einer qualifizierten Betreuung</a:t>
            </a:r>
          </a:p>
          <a:p>
            <a:pPr>
              <a:lnSpc>
                <a:spcPct val="150000"/>
              </a:lnSpc>
              <a:buFont typeface="+mj-lt"/>
              <a:buAutoNum type="arabicPeriod"/>
            </a:pPr>
            <a:r>
              <a:rPr lang="de-CH" dirty="0"/>
              <a:t>Anschlussmöglichkeiten garantieren nach Ausbildung</a:t>
            </a:r>
          </a:p>
          <a:p>
            <a:pPr>
              <a:lnSpc>
                <a:spcPct val="150000"/>
              </a:lnSpc>
              <a:buFont typeface="+mj-lt"/>
              <a:buAutoNum type="arabicPeriod"/>
            </a:pPr>
            <a:r>
              <a:rPr lang="de-CH" dirty="0"/>
              <a:t>Langfristige Sicherstellung genügend Mitarbeitende 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D50E931-237B-412C-9CCD-1D37376B808D}"/>
              </a:ext>
            </a:extLst>
          </p:cNvPr>
          <p:cNvSpPr/>
          <p:nvPr/>
        </p:nvSpPr>
        <p:spPr>
          <a:xfrm>
            <a:off x="789479" y="980749"/>
            <a:ext cx="45719" cy="180000"/>
          </a:xfrm>
          <a:prstGeom prst="rect">
            <a:avLst/>
          </a:prstGeom>
          <a:solidFill>
            <a:srgbClr val="5E0E99"/>
          </a:solidFill>
          <a:ln>
            <a:solidFill>
              <a:srgbClr val="5E0E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865584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E0AD41-14F5-4BC5-8C5B-2206AC5DBF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122" y="929617"/>
            <a:ext cx="8136851" cy="461665"/>
          </a:xfrm>
          <a:noFill/>
        </p:spPr>
        <p:txBody>
          <a:bodyPr/>
          <a:lstStyle/>
          <a:p>
            <a:pPr>
              <a:tabLst>
                <a:tab pos="541338" algn="l"/>
              </a:tabLst>
            </a:pPr>
            <a:r>
              <a:rPr lang="de-CH" dirty="0">
                <a:solidFill>
                  <a:srgbClr val="008080"/>
                </a:solidFill>
                <a:latin typeface="HelveticaNeueLT Std Blk" panose="020B0904020202020204" pitchFamily="34" charset="0"/>
              </a:rPr>
              <a:t>3</a:t>
            </a:r>
            <a:r>
              <a:rPr lang="de-CH" dirty="0">
                <a:latin typeface="HelveticaNeueLT Std Blk" panose="020B0904020202020204" pitchFamily="34" charset="0"/>
              </a:rPr>
              <a:t> 	 Vorteile der beruflichen Grundbildung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7882D0F-4A5C-4925-96A4-B3E9A7982EB2}"/>
              </a:ext>
            </a:extLst>
          </p:cNvPr>
          <p:cNvSpPr/>
          <p:nvPr/>
        </p:nvSpPr>
        <p:spPr>
          <a:xfrm>
            <a:off x="0" y="1713150"/>
            <a:ext cx="1729740" cy="382350"/>
          </a:xfrm>
          <a:prstGeom prst="rect">
            <a:avLst/>
          </a:prstGeom>
          <a:solidFill>
            <a:srgbClr val="008080"/>
          </a:solidFill>
          <a:ln>
            <a:solidFill>
              <a:srgbClr val="0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tabLst>
                <a:tab pos="449263" algn="l"/>
              </a:tabLst>
            </a:pPr>
            <a:r>
              <a:rPr lang="de-CH" sz="1400" dirty="0">
                <a:latin typeface="HelveticaNeueLT Std Blk" panose="020B0904020202020204" pitchFamily="34" charset="0"/>
              </a:rPr>
              <a:t>	Imag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B296378-29BE-4C0B-858A-CAB141C0481D}"/>
              </a:ext>
            </a:extLst>
          </p:cNvPr>
          <p:cNvSpPr/>
          <p:nvPr/>
        </p:nvSpPr>
        <p:spPr>
          <a:xfrm>
            <a:off x="0" y="2291595"/>
            <a:ext cx="1729740" cy="382350"/>
          </a:xfrm>
          <a:prstGeom prst="rect">
            <a:avLst/>
          </a:prstGeom>
          <a:solidFill>
            <a:srgbClr val="008080"/>
          </a:solidFill>
          <a:ln>
            <a:solidFill>
              <a:srgbClr val="0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tabLst>
                <a:tab pos="449263" algn="l"/>
              </a:tabLst>
            </a:pPr>
            <a:r>
              <a:rPr lang="de-CH" sz="1400" dirty="0">
                <a:latin typeface="HelveticaNeueLT Std Blk" panose="020B0904020202020204" pitchFamily="34" charset="0"/>
              </a:rPr>
              <a:t>	Innovatio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B6F69BC-E918-46DF-B8FD-E88F17C6C7AF}"/>
              </a:ext>
            </a:extLst>
          </p:cNvPr>
          <p:cNvSpPr/>
          <p:nvPr/>
        </p:nvSpPr>
        <p:spPr>
          <a:xfrm>
            <a:off x="0" y="2870040"/>
            <a:ext cx="1729740" cy="382350"/>
          </a:xfrm>
          <a:prstGeom prst="rect">
            <a:avLst/>
          </a:prstGeom>
          <a:solidFill>
            <a:srgbClr val="008080"/>
          </a:solidFill>
          <a:ln>
            <a:solidFill>
              <a:srgbClr val="0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tabLst>
                <a:tab pos="449263" algn="l"/>
              </a:tabLst>
            </a:pPr>
            <a:r>
              <a:rPr lang="de-CH" sz="1400" dirty="0">
                <a:latin typeface="HelveticaNeueLT Std Blk" panose="020B0904020202020204" pitchFamily="34" charset="0"/>
              </a:rPr>
              <a:t>	Näh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5C68978-4A62-4301-9514-E76BF24CD05C}"/>
              </a:ext>
            </a:extLst>
          </p:cNvPr>
          <p:cNvSpPr/>
          <p:nvPr/>
        </p:nvSpPr>
        <p:spPr>
          <a:xfrm>
            <a:off x="0" y="3448485"/>
            <a:ext cx="1729740" cy="382350"/>
          </a:xfrm>
          <a:prstGeom prst="rect">
            <a:avLst/>
          </a:prstGeom>
          <a:solidFill>
            <a:srgbClr val="008080"/>
          </a:solidFill>
          <a:ln>
            <a:solidFill>
              <a:srgbClr val="0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tabLst>
                <a:tab pos="449263" algn="l"/>
              </a:tabLst>
            </a:pPr>
            <a:r>
              <a:rPr lang="de-CH" sz="1400" dirty="0">
                <a:latin typeface="HelveticaNeueLT Std Blk" panose="020B0904020202020204" pitchFamily="34" charset="0"/>
              </a:rPr>
              <a:t>	Nachfolge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A365C2B8-CB26-4E7C-8B89-BAB28C22AD94}"/>
              </a:ext>
            </a:extLst>
          </p:cNvPr>
          <p:cNvSpPr/>
          <p:nvPr/>
        </p:nvSpPr>
        <p:spPr>
          <a:xfrm>
            <a:off x="0" y="4022708"/>
            <a:ext cx="1729740" cy="382350"/>
          </a:xfrm>
          <a:prstGeom prst="rect">
            <a:avLst/>
          </a:prstGeom>
          <a:solidFill>
            <a:srgbClr val="008080"/>
          </a:solidFill>
          <a:ln>
            <a:solidFill>
              <a:srgbClr val="0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tabLst>
                <a:tab pos="449263" algn="l"/>
              </a:tabLst>
            </a:pPr>
            <a:r>
              <a:rPr lang="de-CH" sz="1400" dirty="0">
                <a:latin typeface="HelveticaNeueLT Std Blk" panose="020B0904020202020204" pitchFamily="34" charset="0"/>
              </a:rPr>
              <a:t>	Lohnend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795D4E57-34ED-424C-AB30-2A94CB7EE249}"/>
              </a:ext>
            </a:extLst>
          </p:cNvPr>
          <p:cNvSpPr/>
          <p:nvPr/>
        </p:nvSpPr>
        <p:spPr>
          <a:xfrm>
            <a:off x="2768600" y="1713150"/>
            <a:ext cx="5869373" cy="3823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1400" dirty="0">
                <a:solidFill>
                  <a:schemeClr val="tx1"/>
                </a:solidFill>
                <a:latin typeface="HelveticaNeueLT Std" panose="020B0604020202020204" pitchFamily="34" charset="0"/>
              </a:rPr>
              <a:t>Gesellschaftlicher Beitrag. Kommunikationsvorteil.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2769153D-0E7E-4AB0-9099-438DF86D915E}"/>
              </a:ext>
            </a:extLst>
          </p:cNvPr>
          <p:cNvSpPr/>
          <p:nvPr/>
        </p:nvSpPr>
        <p:spPr>
          <a:xfrm>
            <a:off x="2768600" y="2291595"/>
            <a:ext cx="5869373" cy="3823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1400" dirty="0">
                <a:solidFill>
                  <a:schemeClr val="tx1"/>
                </a:solidFill>
                <a:latin typeface="HelveticaNeueLT Std" panose="020B0604020202020204" pitchFamily="34" charset="0"/>
              </a:rPr>
              <a:t>Skills-Mix. Wissenstransfer. Innovationskraft.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51A4A8DA-C6AA-41A2-BBAF-5C63CC08E039}"/>
              </a:ext>
            </a:extLst>
          </p:cNvPr>
          <p:cNvSpPr/>
          <p:nvPr/>
        </p:nvSpPr>
        <p:spPr>
          <a:xfrm>
            <a:off x="2768600" y="2870040"/>
            <a:ext cx="5869373" cy="3823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1400" dirty="0">
                <a:solidFill>
                  <a:schemeClr val="tx1"/>
                </a:solidFill>
                <a:latin typeface="HelveticaNeueLT Std" panose="020B0604020202020204" pitchFamily="34" charset="0"/>
              </a:rPr>
              <a:t>Arbeitsmarktorientierung. Kompetenzbedarf. Zukunft. Kunden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B0D9F248-61A1-4053-A4B8-513F131506E8}"/>
              </a:ext>
            </a:extLst>
          </p:cNvPr>
          <p:cNvSpPr/>
          <p:nvPr/>
        </p:nvSpPr>
        <p:spPr>
          <a:xfrm>
            <a:off x="2768600" y="3448485"/>
            <a:ext cx="5869373" cy="3823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1400" dirty="0" err="1">
                <a:solidFill>
                  <a:schemeClr val="tx1"/>
                </a:solidFill>
                <a:latin typeface="HelveticaNeueLT Std" panose="020B0604020202020204" pitchFamily="34" charset="0"/>
              </a:rPr>
              <a:t>Know-How</a:t>
            </a:r>
            <a:r>
              <a:rPr lang="de-CH" sz="1400" dirty="0">
                <a:solidFill>
                  <a:schemeClr val="tx1"/>
                </a:solidFill>
                <a:latin typeface="HelveticaNeueLT Std" panose="020B0604020202020204" pitchFamily="34" charset="0"/>
              </a:rPr>
              <a:t>. Aufbau. Nachfolgeregelung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DC085009-E8CB-4E4E-A851-95052C16CF11}"/>
              </a:ext>
            </a:extLst>
          </p:cNvPr>
          <p:cNvSpPr/>
          <p:nvPr/>
        </p:nvSpPr>
        <p:spPr>
          <a:xfrm>
            <a:off x="2768600" y="4022708"/>
            <a:ext cx="5869373" cy="3823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1400" dirty="0">
                <a:solidFill>
                  <a:schemeClr val="tx1"/>
                </a:solidFill>
                <a:latin typeface="HelveticaNeueLT Std" panose="020B0604020202020204" pitchFamily="34" charset="0"/>
              </a:rPr>
              <a:t>Investition. Ertrag. Ausbildungskosten.</a:t>
            </a:r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2FFC4193-FBF6-457E-AE59-0344282693F7}"/>
              </a:ext>
            </a:extLst>
          </p:cNvPr>
          <p:cNvSpPr txBox="1">
            <a:spLocks/>
          </p:cNvSpPr>
          <p:nvPr/>
        </p:nvSpPr>
        <p:spPr>
          <a:xfrm>
            <a:off x="501122" y="467952"/>
            <a:ext cx="8136851" cy="461665"/>
          </a:xfrm>
          <a:prstGeom prst="rect">
            <a:avLst/>
          </a:prstGeom>
          <a:noFill/>
          <a:ln>
            <a:noFill/>
          </a:ln>
        </p:spPr>
        <p:txBody>
          <a:bodyPr wrap="square" lIns="0" rIns="7200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de-CH" dirty="0">
                <a:solidFill>
                  <a:srgbClr val="008080"/>
                </a:solidFill>
                <a:latin typeface="HelveticaNeueLT Std Blk" panose="020B0904020202020204" pitchFamily="34" charset="0"/>
              </a:rPr>
              <a:t>3</a:t>
            </a:r>
          </a:p>
        </p:txBody>
      </p:sp>
      <p:pic>
        <p:nvPicPr>
          <p:cNvPr id="4" name="Grafik 3" descr="Herz">
            <a:extLst>
              <a:ext uri="{FF2B5EF4-FFF2-40B4-BE49-F238E27FC236}">
                <a16:creationId xmlns:a16="http://schemas.microsoft.com/office/drawing/2014/main" id="{E4DE84A5-FDC7-4270-8AF2-8B53B5B045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01200" y="1628780"/>
            <a:ext cx="540000" cy="540000"/>
          </a:xfrm>
          <a:prstGeom prst="rect">
            <a:avLst/>
          </a:prstGeom>
        </p:spPr>
      </p:pic>
      <p:pic>
        <p:nvPicPr>
          <p:cNvPr id="8" name="Grafik 7" descr="Schachfiguren">
            <a:extLst>
              <a:ext uri="{FF2B5EF4-FFF2-40B4-BE49-F238E27FC236}">
                <a16:creationId xmlns:a16="http://schemas.microsoft.com/office/drawing/2014/main" id="{1428513B-0482-416D-8316-081A04F4FE4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155200" y="2795229"/>
            <a:ext cx="540000" cy="540000"/>
          </a:xfrm>
          <a:prstGeom prst="rect">
            <a:avLst/>
          </a:prstGeom>
        </p:spPr>
      </p:pic>
      <p:pic>
        <p:nvPicPr>
          <p:cNvPr id="15" name="Grafik 14" descr="Kopf mit Zahnrädern">
            <a:extLst>
              <a:ext uri="{FF2B5EF4-FFF2-40B4-BE49-F238E27FC236}">
                <a16:creationId xmlns:a16="http://schemas.microsoft.com/office/drawing/2014/main" id="{635BE410-2F82-4922-B06D-E83D2637699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51210" y="2212770"/>
            <a:ext cx="540000" cy="540000"/>
          </a:xfrm>
          <a:prstGeom prst="rect">
            <a:avLst/>
          </a:prstGeom>
        </p:spPr>
      </p:pic>
      <p:pic>
        <p:nvPicPr>
          <p:cNvPr id="17" name="Grafik 16" descr="Ende">
            <a:extLst>
              <a:ext uri="{FF2B5EF4-FFF2-40B4-BE49-F238E27FC236}">
                <a16:creationId xmlns:a16="http://schemas.microsoft.com/office/drawing/2014/main" id="{DFD818C7-D0E9-41AC-81A0-B82889AA631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101200" y="3369660"/>
            <a:ext cx="540000" cy="540000"/>
          </a:xfrm>
          <a:prstGeom prst="rect">
            <a:avLst/>
          </a:prstGeom>
        </p:spPr>
      </p:pic>
      <p:pic>
        <p:nvPicPr>
          <p:cNvPr id="25" name="Grafik 24" descr="Trophäe">
            <a:extLst>
              <a:ext uri="{FF2B5EF4-FFF2-40B4-BE49-F238E27FC236}">
                <a16:creationId xmlns:a16="http://schemas.microsoft.com/office/drawing/2014/main" id="{627B181D-958A-4D8B-8C4E-0D000D03706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101200" y="3944091"/>
            <a:ext cx="540000" cy="540000"/>
          </a:xfrm>
          <a:prstGeom prst="rect">
            <a:avLst/>
          </a:prstGeom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7443D77B-09B3-4A8F-8CA8-949EAFFE6465}"/>
              </a:ext>
            </a:extLst>
          </p:cNvPr>
          <p:cNvSpPr/>
          <p:nvPr/>
        </p:nvSpPr>
        <p:spPr>
          <a:xfrm>
            <a:off x="789479" y="980749"/>
            <a:ext cx="45719" cy="180000"/>
          </a:xfrm>
          <a:prstGeom prst="rect">
            <a:avLst/>
          </a:prstGeom>
          <a:solidFill>
            <a:srgbClr val="008080"/>
          </a:solidFill>
          <a:ln>
            <a:solidFill>
              <a:srgbClr val="0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62314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49D713-B458-4058-82A8-9C8774FCE4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tabLst>
                <a:tab pos="541338" algn="l"/>
              </a:tabLst>
            </a:pPr>
            <a:r>
              <a:rPr lang="de-CH" dirty="0">
                <a:solidFill>
                  <a:srgbClr val="3B5777"/>
                </a:solidFill>
              </a:rPr>
              <a:t>4</a:t>
            </a:r>
            <a:r>
              <a:rPr lang="de-CH" dirty="0">
                <a:solidFill>
                  <a:srgbClr val="5E0E99"/>
                </a:solidFill>
              </a:rPr>
              <a:t> 	</a:t>
            </a:r>
            <a:r>
              <a:rPr lang="de-CH" dirty="0"/>
              <a:t>Ressourcenbedarf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D50E931-237B-412C-9CCD-1D37376B808D}"/>
              </a:ext>
            </a:extLst>
          </p:cNvPr>
          <p:cNvSpPr/>
          <p:nvPr/>
        </p:nvSpPr>
        <p:spPr>
          <a:xfrm>
            <a:off x="789479" y="980749"/>
            <a:ext cx="45719" cy="180000"/>
          </a:xfrm>
          <a:prstGeom prst="rect">
            <a:avLst/>
          </a:prstGeom>
          <a:solidFill>
            <a:srgbClr val="3B5777"/>
          </a:solidFill>
          <a:ln>
            <a:solidFill>
              <a:srgbClr val="3B57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2F95068-0C11-4E68-8420-8C211C9850B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CH" dirty="0"/>
              <a:t>Total Kosten = XY Franken</a:t>
            </a:r>
          </a:p>
          <a:p>
            <a:pPr lvl="1"/>
            <a:r>
              <a:rPr lang="de-CH" dirty="0"/>
              <a:t>Ausbildungskosten = XY Franken </a:t>
            </a:r>
            <a:br>
              <a:rPr lang="de-CH" dirty="0"/>
            </a:br>
            <a:r>
              <a:rPr lang="de-CH" dirty="0"/>
              <a:t>(Vorlage Kalkulation neue Lehrberufe, Lohn, Benefits, Lehrmittel, ÜKs usw.) </a:t>
            </a:r>
          </a:p>
          <a:p>
            <a:pPr lvl="1"/>
            <a:r>
              <a:rPr lang="de-CH" dirty="0"/>
              <a:t>Kosten für </a:t>
            </a:r>
            <a:r>
              <a:rPr lang="de-CH" dirty="0" err="1"/>
              <a:t>Berufsbildnerkurs</a:t>
            </a:r>
            <a:r>
              <a:rPr lang="de-CH" dirty="0"/>
              <a:t> = XY Franken</a:t>
            </a:r>
          </a:p>
          <a:p>
            <a:pPr lvl="1"/>
            <a:r>
              <a:rPr lang="de-CH" dirty="0"/>
              <a:t>Nutzen durch die Lernenden (</a:t>
            </a:r>
            <a:r>
              <a:rPr lang="de-CH" dirty="0">
                <a:hlinkClick r:id="rId2"/>
              </a:rPr>
              <a:t>EHB</a:t>
            </a:r>
            <a:r>
              <a:rPr lang="de-CH" dirty="0"/>
              <a:t>)</a:t>
            </a:r>
          </a:p>
          <a:p>
            <a:pPr lvl="1"/>
            <a:r>
              <a:rPr lang="de-CH" dirty="0"/>
              <a:t>Oder nutzen Sie die </a:t>
            </a:r>
            <a:r>
              <a:rPr lang="de-CH" dirty="0">
                <a:hlinkClick r:id="rId2"/>
              </a:rPr>
              <a:t>Kosten-Nutzen gem. EHB </a:t>
            </a:r>
            <a:r>
              <a:rPr lang="de-CH" dirty="0"/>
              <a:t>= </a:t>
            </a:r>
          </a:p>
          <a:p>
            <a:endParaRPr lang="de-CH" dirty="0"/>
          </a:p>
          <a:p>
            <a:r>
              <a:rPr lang="de-CH" dirty="0"/>
              <a:t>Betreuung durch Person XY</a:t>
            </a:r>
          </a:p>
          <a:p>
            <a:r>
              <a:rPr lang="de-CH" dirty="0"/>
              <a:t>Betreuungszeit ca. 20%</a:t>
            </a:r>
          </a:p>
        </p:txBody>
      </p:sp>
    </p:spTree>
    <p:extLst>
      <p:ext uri="{BB962C8B-B14F-4D97-AF65-F5344CB8AC3E}">
        <p14:creationId xmlns:p14="http://schemas.microsoft.com/office/powerpoint/2010/main" val="39712791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49D713-B458-4058-82A8-9C8774FCE4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tabLst>
                <a:tab pos="541338" algn="l"/>
              </a:tabLst>
            </a:pPr>
            <a:r>
              <a:rPr lang="de-CH" dirty="0">
                <a:solidFill>
                  <a:srgbClr val="C93600"/>
                </a:solidFill>
              </a:rPr>
              <a:t>5</a:t>
            </a:r>
            <a:r>
              <a:rPr lang="de-CH" dirty="0">
                <a:solidFill>
                  <a:srgbClr val="5E0E99"/>
                </a:solidFill>
              </a:rPr>
              <a:t> 	</a:t>
            </a:r>
            <a:r>
              <a:rPr lang="de-CH" dirty="0"/>
              <a:t>Antrag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D50E931-237B-412C-9CCD-1D37376B808D}"/>
              </a:ext>
            </a:extLst>
          </p:cNvPr>
          <p:cNvSpPr/>
          <p:nvPr/>
        </p:nvSpPr>
        <p:spPr>
          <a:xfrm>
            <a:off x="789479" y="980749"/>
            <a:ext cx="45719" cy="180000"/>
          </a:xfrm>
          <a:prstGeom prst="rect">
            <a:avLst/>
          </a:prstGeom>
          <a:solidFill>
            <a:schemeClr val="accent2"/>
          </a:solidFill>
          <a:ln>
            <a:solidFill>
              <a:srgbClr val="C93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2F95068-0C11-4E68-8420-8C211C9850B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lnSpc>
                <a:spcPct val="200000"/>
              </a:lnSpc>
              <a:buClr>
                <a:srgbClr val="C00000"/>
              </a:buClr>
              <a:buFont typeface="Wingdings" panose="05000000000000000000" pitchFamily="2" charset="2"/>
              <a:buChar char=""/>
            </a:pPr>
            <a:r>
              <a:rPr lang="de-CH" dirty="0"/>
              <a:t>Einführung Lehrberuf per August </a:t>
            </a:r>
            <a:r>
              <a:rPr lang="de-CH" dirty="0" err="1"/>
              <a:t>xxxx</a:t>
            </a:r>
            <a:endParaRPr lang="de-CH" dirty="0"/>
          </a:p>
          <a:p>
            <a:pPr>
              <a:lnSpc>
                <a:spcPct val="200000"/>
              </a:lnSpc>
              <a:buClr>
                <a:srgbClr val="C00000"/>
              </a:buClr>
              <a:buFont typeface="Wingdings" panose="05000000000000000000" pitchFamily="2" charset="2"/>
              <a:buChar char=""/>
            </a:pPr>
            <a:r>
              <a:rPr lang="de-CH" dirty="0"/>
              <a:t>Freigabe Budget von </a:t>
            </a:r>
            <a:r>
              <a:rPr lang="de-CH" dirty="0" err="1"/>
              <a:t>xxxx</a:t>
            </a:r>
            <a:r>
              <a:rPr lang="de-CH" dirty="0"/>
              <a:t> CHF</a:t>
            </a:r>
          </a:p>
          <a:p>
            <a:pPr>
              <a:lnSpc>
                <a:spcPct val="200000"/>
              </a:lnSpc>
              <a:buClr>
                <a:srgbClr val="C00000"/>
              </a:buClr>
              <a:buFont typeface="Wingdings" panose="05000000000000000000" pitchFamily="2" charset="2"/>
              <a:buChar char=""/>
            </a:pPr>
            <a:r>
              <a:rPr lang="de-CH" dirty="0"/>
              <a:t>Verantwortung über Berufsbild durch Person XY</a:t>
            </a:r>
          </a:p>
          <a:p>
            <a:pPr>
              <a:lnSpc>
                <a:spcPct val="200000"/>
              </a:lnSpc>
              <a:buClr>
                <a:srgbClr val="C00000"/>
              </a:buClr>
              <a:buFont typeface="Wingdings" panose="05000000000000000000" pitchFamily="2" charset="2"/>
              <a:buChar char=""/>
            </a:pPr>
            <a:r>
              <a:rPr lang="de-CH" dirty="0"/>
              <a:t>Zur Verfügung Stellung der Betreuungszeit ca. 20% für die AusbildnerInnen X, Y, Z</a:t>
            </a:r>
          </a:p>
        </p:txBody>
      </p:sp>
    </p:spTree>
    <p:extLst>
      <p:ext uri="{BB962C8B-B14F-4D97-AF65-F5344CB8AC3E}">
        <p14:creationId xmlns:p14="http://schemas.microsoft.com/office/powerpoint/2010/main" val="31968593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F6EBC0FF-8C0E-4381-9862-DF18B090E12A}"/>
              </a:ext>
            </a:extLst>
          </p:cNvPr>
          <p:cNvSpPr txBox="1">
            <a:spLocks/>
          </p:cNvSpPr>
          <p:nvPr/>
        </p:nvSpPr>
        <p:spPr>
          <a:xfrm>
            <a:off x="501122" y="1253137"/>
            <a:ext cx="8168745" cy="858600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5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de-CH" dirty="0">
                <a:solidFill>
                  <a:srgbClr val="C93600"/>
                </a:solidFill>
                <a:latin typeface="HelveticaNeueLT Std Blk" panose="020B0904020202020204" pitchFamily="34" charset="0"/>
              </a:rPr>
              <a:t>5</a:t>
            </a:r>
            <a:r>
              <a:rPr lang="de-CH" dirty="0">
                <a:solidFill>
                  <a:srgbClr val="3B5777"/>
                </a:solidFill>
                <a:latin typeface="HelveticaNeueLT Std Blk" panose="020B0904020202020204" pitchFamily="34" charset="0"/>
              </a:rPr>
              <a:t>	</a:t>
            </a:r>
            <a:r>
              <a:rPr lang="de-CH" dirty="0">
                <a:latin typeface="HelveticaNeueLT Std Blk" panose="020B0904020202020204" pitchFamily="34" charset="0"/>
              </a:rPr>
              <a:t>Antrag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C4C2175-81BD-41BD-8921-84ACC7886D9A}"/>
              </a:ext>
            </a:extLst>
          </p:cNvPr>
          <p:cNvSpPr/>
          <p:nvPr/>
        </p:nvSpPr>
        <p:spPr>
          <a:xfrm>
            <a:off x="1134139" y="1056167"/>
            <a:ext cx="92149" cy="491137"/>
          </a:xfrm>
          <a:prstGeom prst="rect">
            <a:avLst/>
          </a:prstGeom>
          <a:solidFill>
            <a:srgbClr val="C93600"/>
          </a:solidFill>
          <a:ln>
            <a:solidFill>
              <a:srgbClr val="C93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7282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udirektion_weiss">
  <a:themeElements>
    <a:clrScheme name="Benutzerdefiniert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00"/>
      </a:hlink>
      <a:folHlink>
        <a:srgbClr val="000000"/>
      </a:folHlink>
    </a:clrScheme>
    <a:fontScheme name="Baudirektion Kanton Zürich Font-Theme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3ed4fd11-b179-499b-9255-28e45a801d5b.potx" id="{5807D1A7-B3F1-44DD-8738-A66F07C37AA0}" vid="{34D596E9-6ABA-4385-BE12-A968CF85CCF2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2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83547805-C601-446D-ACE9-2D43BF3ED841}">
  <we:reference id="wa104381063" version="1.0.0.1" store="de-DE" storeType="OMEX"/>
  <we:alternateReferences>
    <we:reference id="WA104381063" version="1.0.0.1" store="WA104381063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f5b236e-502f-495a-84e4-b7325173524c" xsi:nil="true"/>
    <lcf76f155ced4ddcb4097134ff3c332f xmlns="7e2f250d-22c9-4c1f-83ef-a2f9db090fc8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855C7C206EE5D40A5070CE428C26E1A" ma:contentTypeVersion="12" ma:contentTypeDescription="Ein neues Dokument erstellen." ma:contentTypeScope="" ma:versionID="3af3cd2750502b0f20a8ad9a6220dff1">
  <xsd:schema xmlns:xsd="http://www.w3.org/2001/XMLSchema" xmlns:xs="http://www.w3.org/2001/XMLSchema" xmlns:p="http://schemas.microsoft.com/office/2006/metadata/properties" xmlns:ns2="7e2f250d-22c9-4c1f-83ef-a2f9db090fc8" xmlns:ns3="3f5b236e-502f-495a-84e4-b7325173524c" targetNamespace="http://schemas.microsoft.com/office/2006/metadata/properties" ma:root="true" ma:fieldsID="25b46444d5ee72d3a969c378d5ef80cb" ns2:_="" ns3:_="">
    <xsd:import namespace="7e2f250d-22c9-4c1f-83ef-a2f9db090fc8"/>
    <xsd:import namespace="3f5b236e-502f-495a-84e4-b7325173524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2f250d-22c9-4c1f-83ef-a2f9db090fc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Bildmarkierungen" ma:readOnly="false" ma:fieldId="{5cf76f15-5ced-4ddc-b409-7134ff3c332f}" ma:taxonomyMulti="true" ma:sspId="5be50911-cf5f-4bf3-9307-b8767a5aeb4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5b236e-502f-495a-84e4-b7325173524c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bc56d896-0de4-49bf-8d47-0b6fa72e0794}" ma:internalName="TaxCatchAll" ma:showField="CatchAllData" ma:web="3f5b236e-502f-495a-84e4-b7325173524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OneOffixxDocumentPart xmlns:xsd="http://www.w3.org/2001/XMLSchema" xmlns:xsi="http://www.w3.org/2001/XMLSchema-instance" xmlns="http://schema.oneoffixx.com/OneOffixxDocumentPart/1" id="d0db333f-b4c9-4722-8378-564ab36245bf" tId="e8aa1351-e0f4-4859-9e00-afa689a27a55" internalTId="3ed4fd11-b179-499b-9255-28e45a801d5b" mtId="a2c9b700-86cd-4481-a17f-533fe9c504a2" revision="0" createdmajorversion="0" createdminorversion="0" created="2022-10-20T12:21:44.9024844Z" modifiedmajorversion="0" modifiedminorversion="0" modified="0001-01-01T00:00:00" profile="98322ab0-df2a-4a65-be41-76674a0c3265" mode="NewDocument" colormode="Color" lcid="2055">
  <Content>
    <DataModel xmlns="">
      <Profile windowwidth="0" windowheight="0" minwindowwidth="0" maxwindowwidth="0" minwindowheight="0" maxwindowheight="0">
        <Text id="Profile.Id" row="0" column="0" columnspan="0" multiline="False" multilinerows="0" locked="False" label="Profile.Id" readonly="False" visible="True" required="False" regex="" validationmessage="" tooltip="" tracked="False"><![CDATA[98322ab0-df2a-4a65-be41-76674a0c3265]]></Text>
        <Text id="Profile.OrganizationUnitId" row="0" column="0" columnspan="0" multiline="False" multilinerows="0" locked="False" label="Profile.OrganizationUnitId" readonly="False" visible="True" required="False" regex="" validationmessage="" tooltip="" tracked="False"><![CDATA[5f984b26-4ce2-46fd-84aa-1f7db548afe8]]></Text>
        <Image id="Profile.Org.HeaderLogoShort" row="0" column="0" columnspan="0" label="Profile.Org.HeaderLogoShort" locked="False" readonly="False" visible="True">iVBORw0KGgoAAAANSUhEUgAAAW4AAAFiCAYAAADWYDL0AAAAAXNSR0IArs4c6QAAAARnQU1BAACx
jwv8YQUAAAAJcEhZcwAALiIAAC4iAari3ZIAAAAZdEVYdFNvZnR3YXJlAEFkb2JlIEltYWdlUmVh
ZHlxyWU8AAC7AUlEQVR4XuydBXgUWfa3d2Z2h/H9fyuzOzuGBuLu2kl3ku6Ou7t7SEISopBADAsJ
EoITILgTgrvDDDC42+AzuAyS75ze271VLRFi3Um9z3MeSN1b1aW/e+659ieGtpOYkBAyrXaaFfnz
vXnw4EHfuro6Kx6PZ5WVlVXI5XLRZoFtU1VV3Qbbm0xNTZvU1NSafvjxh6Zvv/22WevXr1+Trq5u
E+zfpKmptQ3+XeHq6loYFxfncubsmb7kZxkYGBh6FzU1NVYDBw5s+u6775osLS1+5/P5KyIjIwtA
IK2qJ02y2rZ1q9WqVausKisrrcIjIqyioqKCo6OjCkxMTAp8/Xy3GRkZbeNwOL8bGho29e3bV6oA
d4YNGDAAC4HLLq6us/Ly8lzI5TAwMDD0fNzc3LZJE0ZFM/DMf/f09Jw1c+ZMLXJpDAwMDD2Pa9eu
9sWwhTQhVFTD2oO3t/e2+XV1jIAzMDD0PHJyckKkiV97bAAIJ4vFajI2Nv7Z3t5+O5fLnc3j8UYk
JiWOCAsPD3VydGQVFRWxZs2axVq9ejVr7549rDNnzrDOnT/HOnL4MGvz5k2sJUuWsEaNGsVyd3dn
JSQkpPJhfy6Pt9LQyPBndXV1qb8rblggxcTGjieXysDAwNAz4HA4heKCZ2Ji8jvGu8W3U01ZRaXJ
zs6uSV9ff4erq+sqsBFJSUmhdXV1rDt37vy/1WvWfPDmzRvyKx3H9evX/vTgwf3/N2bMGFcHPr8S
CocrLZ0rnOfRxsYNmuQQDAwMDIqNl7f3CqrIqYAg37t37//V1tZqJycnp7q4OI9Ag/+PiI6ODgXv
l3Xs2DGWl5fXB0eOHv2AHKbbmDtv7gdVEye6gke/vbmGUQMDg99zcnMZ8WZgYFB8PD09t1MFjs1m
N5EkheCPV6/+79y5c5Y7d+ywrK+vHw81CJpgU01JSel3Wzvbrebm5uPCw8Pzs7KynE+e/IURcwYG
BsXCzt5uNlXc+A4OcifcT58++b/S0hKLpMTEfPD0lxsaGW61sbH5TVdX992PP/74DkMlVKNeT0v2
ww8/NFmYW7zT09fb6urqMjMtLS1pxYoVjJgzMDDIJ+PGjQtSVlb+jSpkRkZGnSrcz58/+7+09DQn
S0vLfGdn5606ujpbBw0atFVFRXmrsbHxVicnp618Pn/csMxh+aGhoeNsbW2PampqCMSZep6dafhb
VlZW73g83tYw8MwXLlzICDkDA0P3M6KwEEVbQrT09PSajh071uHd6F6+fPl/3j4++VpaWr91pQh3
hIFX32RhYXExKipq3Jq1a34kl8TAwMDQdUyZMsVZU1NTQqD09fV/XrJ0qQ7J1qGEhoUdFf+99poV
i9UEnvtODoczMTw8fGR0dEyYr6+vdVpamvWYMWOsC0eMsI6NjbV2cHCwDgNCQkJGGhoajnR0dFyt
ra2909raWjD6UtqxZZm6uvo7qBXMmD5jOiPgDAwMXcOqVas0NbU0aeERNBaL9fPC+vr/R7J1KPn5
+cGyvGwsQExMTK6AIO4Eb3wnCOox7APenKDisSIjI7ddu3q1Xee7afOmD48dP/a37Oxs68DAwJFs
Nns1iPlDnB9F2u9STVVV9R144cvgPPIjIiKc6urqLJ48ecyIOQMDQ8eyZcvmH62sWJfERcjK0urK
6tWrO0W0ETNzM1qXQzQej3ds/PhxbknJSR/du3dP1K3w8eNHHzQ0NHx0+PChv40cWeQWEBAw0dzc
/Fi/fv1p+6OBp31p547tHRp/Pnr06If1ixb1B0Eeam9vv0NaOEmaYWGCDaVQ8Lxlc9hv4d8jxibG
W/z8fLdAYZA3bNiwxLlz5liQn2FgYGD4H8+ePf2rv3/AjJiYmLxhmcMSM7MyE0NCQvJs7eyWYS8M
ccHR09N7uG79uk4JjwjBhj7qb1paWlx5+vRJqwuKvXv2fLB48WJdEMG54JXTzh9E/dK2bVv/SrJ2
KO/evftg3ty5A1xcXeZKKzjaaijuGhoab0HIL9rZ2c1ITEpM3Llzpwb5OQYGht5KampqsDTRkGY6
OjpNCQkJnSraV65c+VF8YIyXl1chSW4z4A0PcHdz20ENvQQFBc0kyZ0GFIRDZYV72mN9+/V7BzWH
Bz4+PjNmzZrlSH6OgYGhN+Ho6CgRlpBm6LnOnDkznOzWaYwePdpK/LczMzNZJFnE+AkTnGxtbZcN
Hjx4y+AhQ7ZYWFps8fD0nBEXFxd49OgRmke9efOmDxISEov69/+vF2xkZATO8bv38rojIiLG8ni8
La6urjOiY6ITGzZsMCdJNO7evfuBiYkJ7TqEhucxZMiQJgyrDBo4qOn777+Xmq8lw/1s2DYXoqOj
A8nPMjAw9AZAXC5LEwWqmZmZXR0/frwN2aVTcXZ2pgk3itONGze0SbKIjIyMuRYWFrusrKxojYPo
5Wpqar51cXFZum7dOlqMOD4+fqTQC66vr3+vRSBAtEW/hfb9D99j1783LBZrM9+Bn1dQUOB47969
H6bPmGFBPS+8jsLCwvDz587ZGBoafuTq6vKRj4/3R9Ys64+uX78+YOPGjTYZwzJs0tMz0pwcHYt4
fP4aKGCOi4d6pBleU0BgwHRyigwMDD0dAwMDmgiAqDwEL3yXtY31LqiSzxs6dGh4bl7ehyR7pwNe
KE24VVVVmx3g8/PPP3+4bt3aAV6enuEgqseFXjUaHOsdeKNjSNY/3b516wM7O7sdmLZi5Yr3Em4o
WFYJjy/NUEThHN4NGDCAFqd3dnE+Rg7Rau7cufNBWnr6R9WTqm2CgoKK7OztdmG/eepxhYZT0x4/
fowZ+MPA0BsQn/IUPNXtJKlb0Nc3oAk3xtVJUotcu3b1g6lTp7KBY8L9UUhdXV1F3uiCBQusQeCv
YCiDbGoTUIj9zdzcQnT81pi5ufnDXTt3dEjbAFzjP1JSUtydnJzXiPetT05ObvdScgwMDAqAsZER
7eM3MzP7iSR1CyBKbfK4pbF4yZIP/QMC5gqPgeIdFxsbRJL/tLC+/iPy3/fi8eNHfxuWmVlkbGx8
lXqu0gwKnodQmOiSXTsUCwuLSupvTZo8mRFuBobegJWV1RXqxz948OCmOXPmdtvAkGPHftbGiZyE
54Oiu3HTpjaHAPbs2f2Bh4eHICyCxuVxL5KkDmNiVdWHFWPGRLBYrJ04zF34W0LDbWVlZe4ke4fj
6uqynPpbZ8+d7UeSGBgYejK2trZzqGKD5uvru5QkdwtWlpa084mJiQkmSW1i9uzZ/ZWVhwiOgbF8
srnDOXrkyAfDMjLY4AE/pJ63kZHRFZKlXZRXVDhif3vypwgLSwvR4Cj47U6d7IuBgUGOGDtuXChV
bNCwN4SNjU2Ct7f3mKysrFyStcuwtrFeTT0fOzu79+53Dfv+jMfAYfFkU6exa+dOXR1dXZF4W9vY
bCNJ7QIK19/heVwYP2F8ANn0p2m10xKoNRNzc/OfSRIDA0NP5/yF89jfmBYuoZq3t89QkrXLSE5O
phUmevr6v71+/fq9+l17eXkJeoE4OTmtJps6lfDwcFHc2dnZeQ7Z3C5iY2Mn4vEwbKSjo/Mantfr
73/4ntZrxdXVtVsblRkYGLqY/Ly8MKr3JjTsYrZmzZouj5u+ePHi/xmbmNDCDunp6YkkuU0kJCSE
GRgYrJ2/YH5/sqlTAQFlCc85KioylWxuF7jcGhRA86Q9I6HZ2dt3SCHBwMCgIIA3+4Gbq+s8cTGw
srJqc9/jjiInN2ck9VzAy/ytoWF9p8wx0pGEhoYKesXggJslS5ZIDBx6Xy5dvvxBamqqp42NzTX0
vKn3Bs3OzrbTh/EzMDDIGREREUniYuDr61tJkrucrVu3fIADaqjn4+bmtpkkyy0groL7aGJq0iEN
k+KsXLnyo8rKSk8oVNdQ7013979nYGDoBthstqhrmdAmTZrkSpK7hcbGRh2cjVB4PuhpgkAtvnv3
rtx63p6enjPxXOHfkWRTp3Bg//5+qqoqomelo6PDCDcDQ28DF9MVigCahoZG0+vXrzttzu3WkjFs
mJ66uvoj6rmZmJgcqq2tNSNZ5Aqc81tdQ/3R0aNHOr1tAH5LNIKTy+W+I5sZGBh6A3+8evVXFZX/
eW9oxsbG3RbfFqe4uFjP1NSUJt5KSkrvvLy8Fs+aNUtuBPzOnTs/qqmpNeXn53VJTxw+ny/qwaKt
rc3042Zg6E3MmzePNswczdHJcRVJlgs2b9400Nvbe7f4XN3wN85PfRfSNurq6g5nsznDKydOVCe7
dSm//PJLfyhMPJuamrpkUq6Y2JhU4X3AxtDbd24ziywwMPQW/Pz8nKhiiObk5PTeixd0FtevX/uw
tLTU1tHRaZ2R2BwrQrO3s7sGIj+A7NKjMTU1oxW4K1euYuYqYWDoLcTExBRSBQAtLS2tQ/ogdxZT
a6Z+XFMz1TY4ODgqLi52dG5u7uhJ1dW2M2fMaNcEUoqEl6cnTbhHl5Qwws3A0FuwsLCQEG7sj0yS
GeQULpdLqyllZ2czz4yBobfA4/EEXdiotmXLFkYE5BwfH59x1Gc2r66OeWYMDL0F8Ny2UwWgf/8B
TS9evPgbSWaQU7Dr4f+eWf+ma9euMs+MgaE3cODA/h90dXXfUoXbzMyM6VrWDrZu3aoaHR0dy7G1
rYF728hms+/Y2Ni8srAwfwX/f+Xo6PhKTU2t0cnZuZHFYpXFREdnx8XFchsaGoxfv379FTmMTO7e
vftVVFRUDXXoOxz3EUlmYGDoyTx8+PtXnl6eB6mijWZiYiI3fbgVieE5w33BCz4waNAgWkHYGkMR
xsUQlJSU/rC0tHwJgn8A/m308vZqjIiIaNTX1y8LDg5uNDM3a4Tn84f4fCWQr9lJpny8vc3CwyNi
37x922LBwMDAIKcsWrzIlM22OShtwiIfH59um6NEEZlfV6dmZ2+/H/tSi9/LrjAcPFVWXj6QnI5U
4Jmm4rOGwuDg1q1b1MhmBgYGeefgwYMqWVlZMTweb8OQIUOkeoUsa+tHGzc2/oPswtACM2fO9APh
vC/tXqJQYn9zbW3tk+Ax72OxWPtsbGz2gce8T1lZeZ+dnZ1gMeT2CD4cpyk0JDSanI5Mzp0/9zd9
PX3BPvb29vfnz1/AeN4MDPLM7NmzLUA4Xvbt1++tNA9baBYWFtcXL1qkT3ZjaIHx48eb6ejqSBSA
VlZW1/k8Xub0GdMNZ8yY8clvvz2QOpLy8uVLnxQXF3/S0NAwOD0tzS4sLDQThP2E8Dgg7Me4XF4J
m80p8fDwKHF1dRPNTQKFwXUPT4+FaWlpg8nhWoTD4YjW4HR2dhatfM/AwCCHrFm9WmJIO9XU1dVx
ytQpe/fsYTztVrJly+avQKDvUe+jioryo5zhwzNXrVr1Z5KtzRQVFw+E2pDgeCyWtWiB43v37n1l
aWn5ALejl75hQ0OzoRFpeHt7r/zfuaq8PXr0yA8kiYGBQd64dPlSf/FVyHE1FRCek15e3iWLFy8Z
QrIytJLw8PDp1Pupo6v7aGJVlQFJbhfgWe/CY+IzW758uWD+kajo6DHC3/L19R0lyNhGXF1dtwmP
gZadnZ1EkhgYGOQREGnRB4uG07bKqsIzNM/RI0d+0NbWFoVIcIm34cOzbUlyu8nKygoTHjs6Ojpp
woQJfkpKSoLfMzMzO/Ho0cP36q9tZGQk8NiFZmtrK3fz0TAwMFCwsbHZSf1osUFs9ZrVPWo2uVWr
Vn0VFRVdmp+f36khAPC2c6n30sXFZQ1J6hCwIVFVVVVwbGMj40OampoC0VZTU3tUU1OjR7K1idzc
vOHUc0aDwpwRbgYGecbfzz9d/MMNCwurIMkiVqxY8Z29vX0Dl8s9QDYpBKtXr/4BzvkOeKRXb9++
3akjCK2trY8I7yE29lZVVbFJEo2bN298VVhYaBcQEJDp5ua20MLCoqF///4Nbu7uLxwcHF6A4L8A
8Tytq6fX4OTk1GBpaVkSHhaWmZKSYgfbf6c+Ky0trUfwvN4rFDN69GhjHR3JRtTQkJAuX8GfgYGh
DWzatLE/TvJP/XDBq3uwfv06UZ/eOXPmfMXn8wUNbn5+fhPJZrkHB5Ww2ewDfX/s25SZOazDQhbS
+PXXm1+pqf3XG0YzMjKijVg8derkV6mpqdEgxPtAbF+9T1c/LAyovX8GDx7cFBYeNqOgoMB7x86d
yuSnWuTNmzdfJSYmZmppa0mINsbPa2trdUhWBgYGeQXErU78Awbv+t7KlSuNMT0kJKRRuL26uspa
sJMCEBgUlIPnzOFwdpNNnQZ40LQeOuAZb8Ptp8+c/srd3T1TW1v7TnNdLttjeNy+ffu+NTExeWFs
YrzPxdUVa0Yl/v7+mRkZGZnlFRWZ+fn5mcHBwZngzS/U09OTeS5QsFwVXBADA4N8UzyqeKC4142m
qqryFqr/DQMGDBD8raev33T71i2FaLjcsX37V4aGhgKPcsSIEWFkc6cBwphHvXc8Hm9uVnYW19LS
UqZI4j3X0dE+BYXkfihc6qGmU6atpV1mbGxc4+Hhsd/AwGA/iPEjbOSUtn9HGz5nqJnYkUtiYGCQ
dyIjI0dL+5ipZm5ufpxkl3tiY2MT8Zy1tLSa3re3RVsIDw+jzV0OQnwPBFciFKGlrfUIRHlRaVmZ
7/79+7+5evVqswXhwYMH+ri5uU0UPw6Ie7tGVoobHisxMWky+VkGBgZF4PDhQx/6+vrulvZRC83B
0WE1yS73gMe7DM/ZwsLiGtnUqaSkpEgsOkE1ZWXlx/HxcWWHDh38F9mlVRQVjfQVFgDu7u67sbsm
/j81NXXuwgULjP39/WPBY18EQn6jX7/+Er/bGkPPH86/7P79+0w3UAYGReP6jev/9Pf32yft40aD
arvCdBMDIRPMJQ5Ct51s6lSSk5PdxO+X0Lhc7i/z6ua1egi6kJkzZ/oKe33AvX88e/bsf3Jsbdfi
36ampg9INgGHDh78y8KFC5XDwsJiHR0dFxkZGZ3CFd6p50E1DN/o6uo+dnJyWpSbm9vqhk0GBgY5
ZM6cOR9Fx8SUaWpqSnzs/gH+CiPccP4C4QbBEw0P70y2bt06oF+/fhL3zNvb+5crV678k2RrNSUl
o32Eoo0ecWFhgSD2nJSYKPDsUXhB2PmCzFJ48ODBR0XFxZ9t2LCB5+HhwUtKSspOTEwoGzp0aJmf
r6/flClTTGqm1fQh2RkYGHoC8+fPVxFvFIuPj1cY4ba2thYM48bQwp07d1o9493tW7e+Be/1W/Jn
m4DfvEa9X/r6+k07tm9vlWhXlJcbJCYmDvPz91tgZWW1fvDgwaL4eFBQ0E8+Pt7DwDMe5uzkFC/c
npCYWEt2Z2BgYPgvwkmNhBYeHq4wwu3g6DhXeN7gZTqSzTIZM3asvZOT08lBSkp/BAcFvdd1wv0Z
Rb1f6BUXFY2cRJJFXLx08VvwgG3BEx5tZ2e3R09P/5n4nDGyjNog+cOPPzRZsVjP4LwnA0bk8AwM
DF3NzZs3vs3Ozrb18fUZ5unhMR+8uHXq6urrBg0atA6qzOuMjY3Xubu7r+Ny7UfHxsZGzZ07t0Mm
MJKGeBdBOB+FEe6wsP/18nB1dZ1BNkvF29vbh+rhwv11I0lt4sjhw383NDR8LDwOGgqtqanpTfC+
12lpaa2zsLC4CQXiHx3ZIwStf//+b0NDQ9c9ePBAoefTXrRo8bcJCQlRvr4+8w2NjNb169dvnY6O
zh4DQ8N18JjmQ60vav36de9VI2Jg6FAOHjjwLYhLpA2bvQdEuk0fdb++/bCb3jMbG5v54Fl6Pn78
6Ety2Hajq6tL+y0oRBRGuH18fG2E583msGkNeVTAI/YRX1LM0dHxvVdFLywo8FYWq6m01fD5g1hh
qOUGiP1BeL4HocA+CH+fNjAwoI2eFLesrKwQcioKxfTptZ6ubm57sFBr7vowTVlZ+Q8ej7cuPz+P
qWUwdD1FRUXf2tvbT9LS1m72ZW2t4Qevp6d3KyU1ddLPP//Ubq+ExWLRjg/V+mY9V3li06ZNopGM
ffv2bTp8+ND3JEnE2HHjVEEIaaKNZm5u8d7CjeTm5PiBh0jzvGXZgIEDsOB9zOfzDnI4nHJ/f3+/
5ctXmJSXlX1+4eKFv5BDCnj9+vVHM2bM+Hz8+PEmIcEh0+BZS/xGVmZmu869q1m1apUql8dFz5p2
Ha2xfv36v/X381u3desWxgNn6HxAVL+MjIqahN61tBcSDbxAQRcwqFof9PDwwI96MVThN7q5uR0E
sTmIVfLmXnZNTc27UK3MID/5XkAVn9bY5uTo2CVd6zqChw8f0oagjxs/jiZoVdXVX8I9vUvNI7Rh
w4blkWzvzf79+/4dFxc33N7ebiM854NQeBxUUVE5aGFpedDO1nZxUFBQeVRUFH/u3Lnfnjhx4hOy
W5vYtWvnvy0tLY8LzxvnUj977uwAkiz3jB49ykdNTU3qM1BTVYPCjL8xICCgHGoR5bGxseXg5Eyz
YlmdFm80d3Zx2UIOycDQOZSUlhjZ2nJuSfOwsQueo6PTxoSEhPiNGxtVjx49IvOD3rpt2yeLFy9S
jY2NiXdwcNiIVWvx4+FvwIe9e86cuSpktzYBBQRtgn1TM7PDJEnu2bJlK024ly1fJhJuuB9f4hqP
1HRq90cQ9LEkK43KyspvXV1cJs2aNUudbOp2vL29Rc8ICvomslnuCQwMxHaFN8Jzpxrc/2sNDQ3/
Jllp/Pbbg4/S09NpjcAB/v6RJJmBoeNJTk6OBO9L4mXV1tZ+HBISWrF06dL3rvJt2LDhW/BKKsQb
x9CUlZXvlleU+5CsrcbR0XE19TjWLJbCCEN4eFig8LxR0H799eZHuL2mpsbTyMjoNPW6wAOut7Oz
F4kBFHZHBAehkAHAcxLUkMLDw8vJ5m4Hrk3QXx0NamcKMSVBYUGBj5KSEu07UNdQfwzv2378v6qa
6pukpKQMeGaC9pq6+fM5UOscpaevt5bNtnmqpqpKq6na29k3xMbFet69e7fD2ncYGATk5+dX9+9P
H5KMVT4nZ6faxsZGqd7F+3DgwP5/BwYF1Yp35QPxfhMXG+tNsrUKOzs72jBuPP8HDx5IxIrlERaL
tVF43nr6+r+DGK8Fu4Hxbuo1ubm5nbx588bfk5ISRSMfQVRwalPRdcbHx1dTu+vBce7/8eqVXIiE
tbW1SADhec0lm+WWunnzVPT19WmiDaJ8cunSZUP27d37d6gJncRtWFvU09N7wbHl3Ogn9t1IM9Kg
eys5JaX65Mlf/kN+joHh/cnJySkRFwwDQ4PHeXl5Mke+tReo1vPBA6N534MGDXoTFhbWavGGGkI4
dX+0YZnDWt34VTFmTAT5b5dSUlLiLX6/pZmvr+/JI4cPf437XLt29e/UIeJQ+C3E7SNHjsyUdiyo
3QzH9O5k3bp16hjXFp5TTGys3Pf64fF4B6n3EQrO+p07d3xMkvG9/TgxISFLvCtqWwwE/G52dnY6
OSQDQ9uJi4vzBk+V5mGYmZmdrKura9X8EBcvXfwPeHzsyMjIdA6Hk66trZNua2ubnpCQEFFTM7XZ
5arGjR//DXieAg9GaKqqqm9mzZrVKvFeu26trngsPjAwsFUNd9nZw3kODg5dHlpZvGTJ9yDA96nn
LG44mtLHx6eCKhgI3Nf5wjxYG8rIyEjX1dWVCG2hwTHelJWVmZBdu4WQ4GDBDIhCq66usiFJckla
Wpoftaurq6vLnmXLlwtCWEIWLVr8pbm5xV7qdQnfQVNTU1ydKWDW7NkOkyZPcoB3McDJyanW3Nz8
pngXWvzbwdFh95Ytm9+rfYehFzN7zhwTTU1N2ocP1eyTS5ctE3h5zVFVVWXo4uKyFgRC5mop2KtE
X9/ghp+/f3VVdbXU6uGmTZu+FlY/haalrXUfqqytCnngx0LdF8RtGUlqFjj3syB6O8mfXQZ4bB+l
DR1qBoXGGDabfcjKyuox3HMsLB9bWVoe4rA5uSDuotV9qNRMqzHAVWWE1yp+38ULMfAK70ysquq2
+avBWz0gPBccXn/71i2aCMobbA7nrPB8sV0HHAjad9DU1PSli7OzSLSx8OTzeEtArLPxb3V1taYN
GzZIvLe7d+/6uLCw0IHL5e4XH4GKi0ZMmjSJmWOcoXWcOn3qSxAM0YuKht3rFixY0KxoP3v29Et4
UatktbjLMlwOCzzzYnIYGtNnTP9aT1+f1rUPhHUvSW4WFsuKtpiwhYXFfZIkk8VLFqtjoeLs7Nzt
3QfvP7j/6cGDB764evXKp2RTs7i6uEylXq/QjI2Nr6WkpEwVF28VFZU3QUFBxUePHnmvmPfhw4f+
A8dlh4SEpIPnWAzHWuvl5VVna2uXXlBQwH737p3U454+c/p7rDkIz4PNYXd5IdkWZsyYwaMWhBER
EaNJkoiYmJhy4f3Fgra0rNQBt+/ft+/v6urqgrCfm6vrekFmKUDt9KNhmcMCxPu3QyH+O8nCwNA8
UVFRNdSXR1lF+XHt9OmCpcBkgR+/h4fHXnFxaK3hfp6enrsOHNgv8bGPGDHCmPqhY96srOxMkiwT
b2/vIupvoEcDXnyz3eGgABGsBhMYFKgw/b6FXLh44e/Gxia0Ggreq/T0NO79+/c/gkK1Xvz54N/g
Qf4aEBBQBd6d1AWCkf379w/Oz8/zwJCXPZe7BoT6+qBBg2TWqDB+bWxi8mtsXGz6m7dvac80ISGB
tjq7f4D/MJIkl7h7uE8XnivGr48cOUzrb75q1arvwfkQOCsWlpaPoUZICyUOH549Gu8zmqur67x7
9+6J7seJEyf0Zs6YodfY2KgH2/8zZ+5cUdsMvq+jRhX7kqwMDLJZuXKlCXpiwpcHX7b8/PwWPyxf
Xx9abA8NF6AFz31pXFxcwsxZsxw2btzoUFJS4hAbG5trbW2zVHxYOpqLq8ve69evSYh3RkZGGTWf
jo7O/YX19VI9OiF1dXU24kIFXmEiSZYKj8cTfKR+fn4KJ9xIYmLi12w2W+S1gfcnWozh559/+ig6
Onq6eA8hoWFDJniHT5ycnZ8MGDhgDdQ81jg5OT0BL/DJgAED3ojfy9YY7sPj8/aOHTdO9KzMzEwv
CNNxsNb69evleuCNhYW56HyhwNpFNosIDgoWvJvYo2d4To6Eg4PT1ELBuAjvBRoUfqfgPdsF7/+T
QQMHCcKGuPTakCFDXhkYGLwS/pajo+MJcggGhuZxcHQQLa4reHmcHPc+e/a02fhjbEyMwKOg7mdr
a3tg0uRJUuOxQqbPmPG9r69vI7V3AVpgUNACkkXEwQMHPrK2tj5FzRceHl5DkqXS1NT0kbGxMa3q
Cee1mSRLBbx0Qd9iKysrhRRuZOzYsd+A4AruFXiL88hmEUVFRQHW1qxfqfelsw2e3d6nT598OXLk
yGHUd4XL5bYq7NVd3Lx540sUZOH5+nj7VJEkEfCuCIQdxFjivRWC7y8UmmuEx2mNgZC/CQ8PW7N4
yRKmiyCDbGbOnGlCHZKrrKzcVFExRokkS2V+XZ0K9vagvnC2tpxF4KW3qrEJB5eMGDFiEVW80QPJ
yRkuUUWsGFNhS+3eBt7Jm/MXzjfbUMliseYJ86Npa2u/OXP2jExPHYRb8HGBp9piPFyeaWhY/3F6
evqYzMxhUWQTjWvXrn4ty/PuDEOxhprWZPAyRb1mcNuYsWPDySnJJbW1tbRRrEOHDk0jSQKuXLny
PXrLeC0FBQUyZ7uMjIzyUlNTa1Pbj9A0NTXv5OXlepFDMTDQ4fP5S6kvjIuLi0wPQoidnZ0o/odm
amp66vr1a38nya3izdu3gqok9TggnHcuXrooIbDooVHzefv4ZJMkqWRmZrpT86OB5xNIkiWwtLQU
DNzB+OLC+nq5GR7eGcA9pt0XoQlXxpdlWKCDl4mF4GFPT8/D8O9Y8DbHOjs5jcXJvOAZnaV6qUIT
r1nB+3btxYsXct2bBAoamnD7+fnSxgIUFxcL0qFGIbP7aEVFBXfwkP812Ovp6T+G930GhkLwb3V1
9aaFCxY6JicnO4aEho61t7c/K16oYrfcvLw8CW+foZfz888/fU/1CPDDmzN3TrPe9qXLl76EF1u0
T98f+zaVlpbakuQ2Acf6O4j+deGx0LArFUkWUTxqlC21qm1ra9usZ3z8+PGPdHR1aOESdw+PAyRZ
grT0dFHjEPx+s6EYRcfc3EIgHOLm6OAwesSIQkcQkEAQk7GJiQlj/f39E319fR3XrFnjGBwS8uWx
Y8dk1lpevnz5UfWkanNjY2NaaItqWKsqKMjnkV3klvyCglzqeefm5tKE29XFRSDc5haSsW/k9u3b
X1pb29zBPPje+vj4NG7evFkQ+vDz9xfU7lRUVJp+//030f28efPGR7NmzXaEAvAA9V3H7ys9I30i
ycbA8Kc/RURECPqbCs3BwaHF2GNKSoojdR8bG5t2NaYUjiikDXIwNze///r1awmBYFlbiwQeX+wp
U6dySZJU4AOghUvwQ8HBLiSZxrZt28Dh/K/HidV6EH6ZAqXogHdMuy9Cg/s+hmRpFytXrhqsqqr6
RNpvBAcHy+waJ0+AUNOmTsjLy6cJd3Z2tkC4PTw8pLaJQLrou/Lw9Fh06OBBUQ0DV2USpsXFxUrU
Ardu3fJRcHBIHrUGhJ44nJPU8BdDLwRE97Dw5UArKipqMfYILyvtpQ4KCioiSe+Ns7MzzeuGqqjE
Cw2/O4yax8XFZTpJksqECRPsxLutgXCUkWQJwIsXnYO/f0CzoRhFJnVoahr1ngiNzWZfIFnajZur
q0ThoKend+rAgf3/IlnkmviEBNrUCfCO04T7xIkTA7DdJSAgQKpwQ+1F0HCJ3ScvXrpICyHW1tYO
FrYpwT2/c/XqValOQmRk1HDq+6uqpnp/7dq1rRqExtCDOXnyl+8xbil8MQwMDZuePXvaYpza0Mho
jHAfNPAE2j1sGarmUdRj2rDZS0mSiEX19QOpMUB46VtsSISCiVYgQDX+Pg4YIsk0QNSrhPm0tLTu
NzSs75Fe9+7duwZidzzqfUHD+P706dM7pP9wVFQUTfhMTU2fwPMzJMlyT0JCAi3GDedPE26Ew+E8
cZQy3/v169e+F8b68wvypXrJbu7u64XH9vD0nE820xg3bpwv1hKF+dCghtwhtSIGBSYmJiaA+lKw
OexWVWMjIsJF03KinT9/XuKlbiv379//O4iq6JiGhoZvpI3Ag2q+SIhRaJYuXdpsQ6KPj0+mML/Q
srKzEkgyjVmzZxlSG9I8vbxa5XXPmTNXOTkpWWKBXXnGyclJapzbysrq9o7t29vt1YWFh4mEz9LS
8tTKVau6dY6UtrJ3716acA8fnpNLkkR4e3nNA0GXmO89KTlZsK+2tvYTcI7+TDbT2LBhw2ATExNB
OAm9ai6XO/H582ei972qulpZR0eH1hsFnJAniYmJClFjYehE3NzcaD1DwEuidXmShbq6Om1k4r17
d9st3IiLi4vIC0EbP2G8YPgwFRAckVeMFh0TLVWEhcAH8g9dsQE/8AGcIckSmJmZiQqG1nQNPH/h
PE4TsB9HxpFNCkF5eXk0tQGMaiAoe9avX/cNyfpejB03DsoAq3Ph4eH5U2um9iGbFYbXr1//o3//
/8WYA/z9JWYxXLR4kZ20ScmCgoMFDpG1tXWzYwKgpmqipq4mEG98FuDB71m1apU+plnbWG8Q/jYa
ePBPqidNUqjCj6GTMDc3p8W3lyxd0ioBDgwMpMW46+rqOkS4o6OjadVrZxdniY8lNi6W1s3P1s62
2Tg34uHhsZC6D3o406ZNkxoSgKqvqGDAj6msrExmA+idO3e+DA4O3oN5R40aJdf9ksV5+vTJn3k8
nszeH1C43Z5aU8Mh2dvM9RvX//zixQup3qaiYGRkJLofhoZGUqefraqqciL/FZGVlSVoQzAzM22x
G19RUZEJhpGEv6OhqfHG1tZ2Dva+EW7D9zAhIaHFqR4Yegkg3JQX07AJvIxWfWggZh7C/dDi4uOa
9Xpby949uwdSX1jwQCRGO545c5oW54aPq8WlyebMmWMo3j+WzeZsIMk0Jk6sol0bVGGlfrAL6+u/
cXB02IMfFZzD9dNnTiucSE2ZMsVQabCS1N4faDiCz8/Pv/LI4cPt8r4VFQcHR9G9cHF1kWhzkYW3
t7cgVKKuodGqucahgPwWnIuD4v3dhQbf6b5ff72p0IUgQwcBHtF3VJHU0NCQ2h9VGg8ePPiHnp6e
aF8Wi9Xql7oloHotEhJZs/qBNyj6bSx8yOZm4fP5tPUaBw4a2LR8xXKJ+SUePXr4D1VVVVE+J2cn
WuEB1/5FVmZWqo6u7m1Mx48tJSXFnyQrHCUlo+PFVx4SN20d7dvu7u6p69ev+4Ls1iuAwn6X8B7A
+9PqqRCOHjkCDkh/7PXU6u/i3Plzf46Pjw8yNja+Rb33WDssLS1lpnhl+C+TJ0+hNb6AR9HqFxOx
trYWhR9UVFRez5w58zuS1C5AuEUNn9jjBarbEmIBHq7og8IuWZcuX27xt4dlZNiJx3T5PJ7UMAt4
2aI8UEBdSAVCQ0NTXV1c5sDfN6hdtHz9fJeQ3RSWCePHJ8EzlOl5o5GaxdPAwMDKZcuWDyK79mig
QBO9i3Dtbfo+sBEd19Ykf7aakJAQWo8te3v76ySJgUHQ24Im3PBitqkv9qxZs+yo4Qc43lqS1C7g
hac1Pm7cuFEifu7q5kqbtGfc2LGtirFzeTxa10ANTY3Xe/bslhD9AQMGiAqG5szM1HRJaVlZj6jC
LliwwBRqMgephZIsw4La3cNjR25urusfr171WC9cV1dXJNxQI22TCIeFhWWC9/ya/NlqoPZKa3fq
iDESDD2IsPBwWldAeNFaFY+j4uvj0yDcH7vmFRcXSV0UoS3ExMbQGj59fOlzRCD6Bga0POD9t0q4
k5OTo6n7oQUFBZeSZBG2travxfNRDUNM4IEvGV1S0qPijps3b/pzSUlJMpvNviVeO5FmGCYyMDC4
4efnV7lg4QJBb4ieBAivSLihMG+TcF+8dPEfJiamp2umTjUjm1rkt98efKGlpSW6v1iILl26VGH6
vjN0AdnZw2nil5Wd3WbhXrps2b+pMWnwwF+nJCdPePbs6Xt7YcnJKRHU8wKvTqL/LFQnaeeenZ0t
kUcaBw8c+LMl5XzR9PX17z169FB0vmvWrvmu/wB6Q6bQUMw4HM6thIQE56amph7bWAQC/kl+fn4w
1H4ODVKSHKgjzfDZ29nb/5yUlJS6f9++f5NDKTQ6Ojoi4Ybra3PYY2JV1b+hJvMP8meLlJeX02vB
xkZPSBIDw3+Ji4+jiZ+7u7sHSWoTVVVVpuAliMQQxc3CwuKXrMzMEPA62izg8fHxtJc3IiJCokAZ
NmwY7dxRyElSi0RERpZQ90VLTk4KIMl/ysvL0wMP/ie4BpxWU7Auopmp6S0ej7dixIgRwZs2bfqE
ZO3xYHe+adOmaYJHPR7ux63WhFHw+cP78MLF1XVlcXGxy7t37xQ2lALXLFpIQU1Nrc3C3VaGDh1K
m9jKxsam03+TQcHw8/OliZ8th/PefbEnTpxoZmRkJNEarqur95Rja7sdPLcJUKVOUVFVSdm7Z0+z
DYlTptAbTUEwJUS5qLiYdu4e7u6tFu5jP/88kLocGhrfwWE/SRZx5MiR/xs1evT/zaur+7/ff/+t
14i1LMCL/mTMmDEuUMCv0NHRbrYhU2gYPjMxMbkRGxc7YeWqVQPJoRQGandZGza700XU0cmRNiAO
B5uRJAaG/4KCSH1JvLy83lu4kYX19f/29vZeIW0+ZqqdPPlLs7+zaPFimnCbW1hIiDKXa+9CzcPj
Sop7c9ja2tIG5AxRHtK0b+/eDukV0xuYVlPzRXpaWoiFheUK8VGpskxVVfW1p6fndqi1uJDDyDUV
FRX21Dg/l8vtdBFlsVii0AxaUlJSOkliYPgv4AnRhDsyKrJdwi2koLBQKygocIWent4t6qo1aP0H
DGh6/vxZszG/2un0lUf09Q0kRHnEiJG0c3d1cWmTcE+cWOkh3vgWERHRIYOIehu7du3qm5iQkGJp
ablNfEIkaYZeOHiyl0NDQ1NOnzktl7HwgwcOfGFjbXNaeM74roCQv1cosS3AfTlPvVfJKSkd8k0y
9CBUVFRp4jd0aFqHviTYwDV37lwH6ix08GK22NiSn5/fonAPHTqUdu7BwUFtEu5nz57+2djYmFbd
h2rpJpLcIbx586ZHNNC1hZqamr5B8CzAczxPHdwlzVAMjU2MX4CAj1+2fLnc3KtFixb/287ejtYd
FGpop588edzpjdFw30S/iaHGC+fP65EkBob/YmNjU0t9OQsKCjq8dPfw9KB9ADwer8W+3jjvMXUf
ezs7CVGGj50m3FClbJNwI3w+fy31GFCo3CNJ7WZ+Xd0QWzvbW+TPXseZs2f+PGXyZCs3N7fZBgYG
LcbDdXV1X2ADaGPjhm4V8LShQ0PgXGhtNUOGDHkyYcIEI5KlU6FOsYwjk8lmBob/4e/vT4unjRk7
psOEe/++fV8EBgauoIYj8P9jx46NIFlkkp6RnkA9r+CQYAlRFg/zZGVltzkW6CvWOIurjdy5c6dD
ekCA977P1NT0F/Jnr6auru6LvPy8FBxYQh2wJc3gub7w9vFJPn/hfJf2RBk5cqQz9iQSnytk8ODB
T1KHpkrMUNkZHDt2zIz621ZWVsyISQZJcO4F6otSO23aewv35MmTbdLS0zX9A/w1o6OjC0zNTK+L
x5DtudwzraluBgcH0wQVu/6RJBH+/n6bqHmgEGrzuQ/PyaH9Dtr+/fvaXXiVlZXaYxzX0dGxmmxi
AH7//bc/p6ena3t7e6+kDjIRN3xv2Gz29fz8/HYvztESkyZNcoZC9idpYR0oeG8XFRWZk6ydDtwb
8d5UTFdABkngxaQJd319/XuLFrz81fjyo2BRjyk0NTW1J9OnT29VddPamlVB3dfZ2YlNkkRYWdFb
35cuXdrmc3d1dZUQ7oMHD0g9ztGjR/79009HW+UF2traLsFjpaWntVi76K3MmjWzn7u7+wRcaED8
GQitX/9+ryMjI1csW768w73vzMxMXR8fn5+kDbTCCbc8PT1n79y5o0vDNnFxcfHU84Dvs92jkBl6
IKqqqjTx271713sLN3jatKlQqYYxzuSU5FZ7LuhpUPdftmyZxHnBSy1qfcfC4t69e23uI+zo5CTq
NYAG1eImqBFI7fGSX1CQrq+vv2vOnDnNisjDh79/oaenJxguf/Dgofe+n72FrVu3fh8QEFCJBTv1
WVCNw+FcmzBhgi7ZpV3A89O1tbNbDk6GxJQG2AMKaqGHJ02ezCLZuxS4TpojMXToUKYrIIMkhoaG
tK5Hd+7cfu8W7C1bttCqeWjq8DGGhoWuqq2d1qZlsKjnhTFRnGaVJInA0YzCPCYmpm1uxKmZVhMu
3lXR3t7+BkmWYMXKlXpYhY+IjFhDNkmltLTUAY8FQtTUk4fEdzQzZ8783s/fb5W0dTDRtLS0Xqem
pgaT7G1mzpy5//Lz85uprKwsIdjYe8Pc3PwwTph1+9atbntmbm5uovAfvmtz581jepQwSAJCJXp5
+/br164W7Ddv3vwZPVbh8czMzH4pKRnd5oV2cXg0Nf7JZrMlzmvPnt1q1Pi5sbFxmxoBa2qm2ahr
qN8T7i80qD5LTDZFBYe/Yz/llStXyhyoI1z93srKiukR8B5UV1e7GhkZnRF/Nmi4Knp2dvY4krVV
nDhx4ouwsLB8KOifSzsmfAO3w8LCXaG22e2FrBHFYYHzfUo2MzDQAXEVvcDq6urtFhrq8aytrd+r
a9306dNpnrulpeVukiQiKTlJ4NUKzdnZuVWNOAvr6wcEBQWNg2uV8LosLSzPzJ+/oNmPV9jHNiws
NJ5sksDTy0vgNdnZ2THC/Z6cOXvmGx9fnzm4EAH1GaFhLSkuPr5V4j18+HAnKECviTeSo+np6T1N
T08fsW3b1k9J9m7l6NEjatR4O7xrHTJFMkMPBD1IyovSbqFBsRIeD4T7vY4XGxubIzwGmq2trUTP
DG9vb1osEPK02Ijj6+u7U0lJSepUrVA4PF23bp3ESjjiCFfdAS+tlmySwNDQUBCft7KyZIS7nYDw
pmpo0ueUQUPxHp4zXKZ419TU/MvFxWW5tK6H2IDu5+e7ZcHCBe1exb4jiYiIyKSep6+PD9OwzSDJ
vXv3vuhHebF1dXXb3eeYx+OJjmdiYvJewgXHEPTIEFp4eLjEC4wjHKl5QsNCWxyK7OjoWEfdR2hs
NvtIcXFxqz5ibW1twT7NefjCBl+cxIpsYmgHWVlZ1uoa6k+pzwwNY+Egdm4km4i0tLQgYxMTqWER
AwOD2/Hx8W5v3rz5C8kuN9iwbURhElU11aYTx4/3ihWGGNrIurVraSEJENp29xmlrgNpavp+wm1h
YSGKPeNgiF27dklMzo9hGGEebFjav39/ixP4jx07littIdbIqKhWrZy9bfs2M2GVG5dWI5slEHrc
aODFt3oCfQbZ5Ofnm0sTbyhIX8+aNUuwyMCWLZv/5e7uvkxaf2z00AODArc0NKyXywWPc3NzvKnT
5UINUuoi1gwMOJ+1P/Xlhup/HUl6b6izxElrVGyJNWvWqFH7gYOISzTQXLh44Vvq7IM4ZzZJahEu
l7tfuJ/QlAYpvQavLo9kkUlwcJCoj609lytTuHHdTmG+4OBgmbFwhraRk5vjqKoqOYEVi8U6VTNt
miO8B7+Kp6GBuD9NTk4Ke/nypdx52cju3bs+t7S0Ep07OgdlZaWdPpkVg4IC3gltkIufn1+b5/qg
cuvWLVWqR6unp9fm0EtgQABtAAIUJhINNDk5ObQCh8PhSDReymL+gvnGgwcPlvDc8LytrFhHoOod
2Ni44V8ku4i1a9f+CwRirzC/t7e3zIYjDptTLMzn5u6+l2xm6ACggM2neqZCk7VCD3iuZ+fPn69B
dpdL4F2aSz1nBweHG+/evZPLQoZBDgDBO0R9YaKjozkk6b3Iy8/nU48HHnebQy/wodFi18lS5iL2
8vKiTYzl5u7WptFlBfn5SditjHoMoaG3M2TIkOc8Hu8B/LtMVU11mZWV1UXcRu2ZgCMuyeEkSE5O
9hTmw77cGzc2fkuSGNoJCpqnp2ej8P7KMqy1BQQELF9YXy8XPUZkkZubO5Zaw0QHoqysLIgkMzDQ
uXr16rdq6mqiFwb7X58+c/qfJPm98PHxofX0wCHwJKlVwDl9rqWl9Ydwf+wRsGnTJokGGjs7O9qg
oWEZGW0ucOLj44e2tNhDc1ZQWOhJDiXB0aNH/omCLcwLXvxkksQghREjRlgXFRU5vnn79nOyqVmg
RvSNoaGhRK1JaPhcg4KChspraETIsGGZY3FSM+q5+/r6HSDJDAySxMXF0kISOFiGJL03NmwbUSgB
LSMjo03dmfLz88VCILYSoxixwFFVVRXlwZ4bv//+23sVOOVlZeE4yIH6m60x7M1w7fq1Zlv8LSws
RF6hnp7eHw0N6xmvWwbgdTrp6Og8hRraVRDwQLK5WdLT02Ol9c3GwVFlpaVpJJtcAu/r5+EREdPF
R+2amJg8rZw48T8kGwODJHwHh1PUl8bX17dds9jt2L79W6qXiV7PyZO/tKk7E5fLpXUDDAwMlDin
lJQUmrjz+fx2FTizZ8/+wcfHew11DuSWrDWFXH5eXiR1H3d39zkkiUEKdXV1FpZWVk//28fab/Oy
5cu/JklSQW8a3pez1HuMBrU+uR60snPHdiVbO9sd4oXOYCWlp0PThlqQbAwMkuTl5RlQS3uMq02Z
OsWEJL8XsXGxo6kvop2dXZsE9fr1a5+D9ysKk2AD1NSpUyXOCQSQJu5eXl4dMnvarNmzdMPCw+ZB
FfxSSyEUEPoWC7mz587+xcDA4IZwH/TSKyoqbEkygxQ2b95sYWFuLqgBmZub/xofH69EkqQCNTSe
ePdO8Fr/wJAbySJXFBcXB2hpaUn0fIF34+nkKZOTSDYGBulwbG3XU18c8FxkTqwki1mzZok8ooMH
DnwOInWXesyEhIRsktwqoOpL86RNTU2lnhN4u6LfQa9l+vTp7WpQFefCxQt/mTtv3sDy8gp3N1c3
dy6PR1shB38TqvatKuSG5wwvo+4LhdnNX3+9KZeiIi9MnzHDEmpuAvHW09N7tmDBAleSJBUQ+APU
e4yWk5MjV10w58yZ87Wvn+9S8Xg2mqam5tPQ0FBLkpWBQTpl5eW24gMUQkJC4khyq4hPSBhjz7U/
Sf7EoeQ0bxu8iqcnT/7SprizLcd2HfUY0kI3c+fOMaV6WMbGxk87ewQci8U6Rz0vlrV1qyf+Wb9+
Hc3rRgsPjxhNkhlkkJk5LFj4jsIz/iMnN1em5104opAWkkJzcnLaQ5K7nYyMYQlQC3gmfo5oRkZG
ZxcvXsyINkPzvHjx4nNra+uT1JdHV1f3xoYNG1otfsnJyWPwo0LPMy8vzws8Xleo6olCHGje3l7l
JHur2Lx5Ey0+jmGcRYsWS3i1bm5utALCxsZmPknqFGqmTTMQXxQiIMC/Tb8ZGxMTR90frvOPlatW
GpDkVnHixInPlyxd2qs8dUdHx5nCewbv7E2o4Um9/qtXr/4F55kRu8dNp06d7NbG4GnTpmk7Ozsf
Eg/loOH77eHhsfzI4cNMQyRDy6Smpo6iNorg/xMTElrlbd++fftzL2+vWqqQWVlZ7VHXUKeFSExN
TZ/u27u3Td62n5/vMOoxLCwspMbHxb1fqBJHkqROAbz+adTfw/s1d+5cmd0ApXH+wvm/WLNYNK+7
rR5hVFT0aBcXl17lqW/duuWf+C4J71lQcNBKkiSBh4f7JOr9RcvIyOiWcAmI8eeRkZEVWECLnxMa
9hyB9zZCHudKYZBDamtrDVTVVGkvE3g1Z3///bcWXyDYV4nH4/1MFX1p1vfHvvDBpLd5onsLSwua
IAcHBw8nSSJWrlypSp3pDWc1vHT5crv6nbcECAetUGJZWT1tampq8wdXPKo4jnrv0AsbNWqUF0lu
EfjYzwUFBbZ7HhlFIyIiQlRbwWdfWFgotXF34sSJJuLvJseWs4QkdxmlpSUOLGvrK9K+E6ylBgQE
bFu9atWPJDsDQ/OsWLHic3t77k3qi4R9oWtqapptZPvttwef+/n7x+vo6EiN0YlbSEjICrJrqxkz
dowtdQgz9stes3aNhCDDsUdRf8vKynIjSeoUQAxsxT9AHx+f9wrN/PHq1V+gkKR53RwOR9RG0ByV
EyttUeihoBpFNvUasGeOoaGh6L7Z2dnJvGfmpDeK0IwMDe+SpE7nwIH9X4eHhy/BnkPUcxAa1CDv
ZAzL8GCGsTO0CW8f75XiL1NMTMx4kizBo0cPPx9VXBxvamL6s7R5IaSZp5fnucqJE9v8Yrq5udEa
Ja2trReTJBqwXdwr79Qwibe3Fy1MggZi3qYwCZXRo0fTYt14X6dMmdLi8UDwBffH19e3XfPIKCrw
nMup92zMmDFS7xmHzZ4vzIeGhd2OHTtUSXKnUVCQb2VubkFzioSGsfbg4JDqqurqz0h2BobWkZGR
USjeQAKey8GTJ3+RENnp06ebgkBUQNX8irRGFTTwFH/CrnrUba6uLuf279vX5oYWnMODupADerhQ
HeaRZBGTp0xWpfaEwQ9iz57dnRomgeukhUkMDAyeQg3kvT2m+/fv07xHNFtbW6mFlBCoEekLl4JL
TU1970JDkZkzd84gajc6eC7rSBKNiIgIid4lsXGx/iS5w3n58uXnCQkJFUpKShKxbCxgeDzuT1DI
tDjVMAODBGlpaS7w0ku8WFwudw94MkuioqKWeHh4LIFq5kYQlbvS+pkKTVVV9WlkZOSoWbNm4Yg1
QWMQvqAODg4roEr7Xi34/v7+tPCHjY2N1L7brq6utHyWlp0bJlm/vkFVfDgyn8+XKhhtITQ0lNaI
pqOr88fdu3dl9hbBRkzMh/Hdo0eP9NpJ9W3t7EQ9oXB5vRMnTki8bzt2bNcXdzbgPW1T76bWMmrU
6M/hu9kurTaKy6GlpQ3NOHrkCBMWYWg7c+bM4Whpa0tt2W6LYSw8KChoXUlJSV9y6D8lJiZGwgf0
dHhOzqhr166+1wuK8zUYGNIH7URERko0SiIsFouWLywsrFPDJGHhYbSwBlpcfHwGSW6RsePGDQLP
cDHcM9o+ixYvMhX/2MErk+oVJienpAjzstnsm2RzrwRqgbSCOysrS2pPKDMzM1qcG2o0Hd6gO2XK
lEHwPC5TfwcNCw0XZ+dtM2bMEH0nDAxtxsvba5v4y9UWMzAweAYe36RF9fUS1b2CgoJ/Tqya2K4X
dPjw4eL9m5+BlyIR/igrK+NQGwl1dHSwj26nhkn4PP5i6rlhF8j6+vpWebzl5eUuOOIPROTZmrVr
JDxD3E49NnhuEl4hiLmLioqKqNANCQ2ZRJIUBijc9TOzMq3In+1i9uzZtHfAzc1NaogJhVqYBw1q
Zh3aQJmfnz9I38BAIp6tpaX1DJ0JDIeRrAwM78f69es+j46OzoCX94r4SElphuIEL+BdqF6uyxk+
PBKE6v/IoToFlrX1L9TfB69Kao8N/Eip+ZydXTo1TIKAuNIaQk1NTZ+RpGapqamBWo7WHygyI0eO
kOoVWlhY0MTFnmtP8wpHjx7lB4WTSLRx8qtly5Z3eiNbR1MzbRofu59CAd3ucAX2xjAzMxfdM0sr
y3MkiYaLiwvNM8eZAm/evNEhA5dQtDU1NWltFGjwvZyrm1+nRbIxMHQMR48e+bisvNzAz883w9jY
eBK83HscHR1Puru7n9Q30J8P/5/k6eUVNXLkSIPNmzd1yei8CePHe1JDBtiNCj50CXH66aejtImn
0NLS0jq9kQ67JFJ/08zMtMUqd0PD+s9BlAUfNofDufny5cuPSRINPp9P6/1gZm4uECGsxYSEhi4W
n+DK39+/2QZMecbe3n4xthWkpae1W7zBARHE+9GgNih1qbqxY8eKFrAQWnFxUbu9/oMHDgwSb5DH
9xecjZUbNmzoVSNaGXox9lzubupHYGdnL9WLTk5OpoVTDA0Nn509d1aqIHYUe/fuNaX+JhoUdi32
305JSRE1PAYEBOaQzRJoamrRFptAEXJ1dd0InjUtPosG13tz3969CjuP99SaGlXsFYMFc+GIQmey
+b1wc3cTFXhYowFno3HLls20kNnJk798jKE06j0EcZXabtIWnJycaO8rFkZ+vn6jf/vtQae+iwwM
ckNpaak+dQQkNuqUlZXxSTINvgOfFk6BWkOnzk2C+Pn50Va+RwMvudk+1Ldv3frc1MxMUDPAjxqq
zjInRYLqO024ZRl4/c+mTJnSITHi7gREbyNeD9Sc7p47f+695+bw8faWuG9w7Bt79+yhtT1YW1sL
fk9oLBar1euRSiMmNjaZGl/H99XJyXkYSWZg6B04OzvTpkk1Nzc/SJJoLFq0iCbwGIOfPHmyKUnu
NAICA/2o54cWFRXVrHCnpqaK9rFhs5uNh3t4uNOERZrp6Oo+y8vLU3jRRkaNGiUKX8TExLz3Yh25
uXlSCzw+n3dj584dIvGuqKiIpAotevv1UhrYW8PGjY2faWpq0no0xSckyJwzhYGhR9LQ0KBPXWkG
P7CSkhKpXft8/egTPHG53C7pEpeZlSUhEDEx0c0KN3h+ogZUOM9m4+FGxkYHqccWNxsbm/MTJ07U
JtkVnrt3734M3ragJ40Z1Erg7/caRZiYlCQxwEZolpaWN6BQF0yPim0Ltra2tEWwHR0d32tVHCiw
06nHgWdzE8ScCY8w9C5A4GhijNN1Pnv2VOJDuHT58mempqa0Rsng4GCZceOOBEeaUn8XzdXVpVnh
hg9a5JUZGRnJnFPk+fNnn4GI0Y4tNJwPJiIifPTq1at7XGMXi8USTWsA99ePbG4TI0aOHE69XxER
EeepTsAgJaU/bO1sG0HEsz08PGm1OgxfZWdnt3nyMw6HQytkAwMD5WqBBgaGTmfRosX/UVNTe0X9
EKKjo6V+CBkZ6bRGSRwWv3bt2mbXIOwo8vLzM6i/jWZnZzeNJEvw9OmTz7DbmTBveHi4TJGvrq62
wrwYAhoyZEiTnq7uMxC1vZGRkZmTJk36fyRbj8PN3U1UGHp6er5XL5nU1FRagYrtDulpacMGDhwo
2tacQcH4asyYMXrkcK3CxMREtD/Gtjdt2tTsUmoMDD0OL2+vauqHpK2tfXPvnj1Sq51cLpfWKAlV
3y6bojMmOlqicZLNZkuNwyM7du6k5c/KzpY5wrKxccPHw4YN+xcUBP+KjYv916FDB3usWFMJD4/w
Et4fCwsLUR/sufPmqcC9PaOro3PbysrqNpvN2eDv759dVzdPk2QRAbUamnD7+HgLCsjU1KHeUMu5
R02TZU7OTmcFB2sl1EIB3lepXRAZGHosGzc2/kdLS4vmbScmJlaQZBpVVVV61AFDGAevqKiQ2uuk
M/j5558MxIelY5e9e/fuScRm4bp+hCp7PjUvfOA9olGxIxk1apSocMNQEdn8p1GjR3+ckJCQCbWO
fdQpUfsPGPDK0dFxf0lJCZdkFfVOEVpSUpKoZlNZWfmFqakpbWUnqqG3bGdnfwzerTa1HVBrUvD+
MsLN0LsIDg6meds4JBwEUmroA6vS1LzWNtZdPk+HsYmxxPzjUHiIYrMTJkywd3J23oChH2oPBjTw
DBnhFmP58uUi4cZC8ebNGxLdAouLiw1BrHdQJ/dCjzcgMKB+06ZNn8F9vSPcjpaYkEBbiMLc3Jw2
IhVNWVn5JtTepqSnpdmdOHGizY2KxsbGouHt+JzXrF3bqkWiGRgUnkMHD/5HV1eP5m0HBPhL9bZx
alh1DQ2xvAFd0ihJxdramjZHOBp4fGsPHz40kMfj1Q8cJDuuamJi0mbhHj16dD6Xa59O/uxxLFy4
kBZOWt+wXuo9ev369cf5eXnRurq6tILT18/3aP8B/+sairZq1SraMczMzCSEm9PCJFPv3r1rtocL
DryiHs/Pz++9uzMyMCgU2HeX+vLjwJKGhvVSve2IiMhisbz4gXZJoySVsLCwKOp5oKkoK+OK49fF
t4ubjbWNxHzizYEFG9RAXrXUV1yRGTlyJE24WxpYNHv2bB0DA4Pz1H2ohqMjnzx5TPOgQewlhNvV
1VWmcEdERIyLlDEbpZBFixY5UKc6Bg/+1ZixY5xIMgNDz+T0mdP/MTQ0pHnQDo4OY0gyjTdv334G
1V1adZjD6fp1A5Hjx49/ramp2arl2sQtLy+vTQIcEhIi6EEDHqPU9RR7Aq4uLjzqPRozZkyLtZJJ
kyZ9p6unJ1W8WSyWxBJmQ4YMkRBuqK3JFG44xisXV1eZvYVWrFz5Q3x8fKmamirtmEOUh7yqqKgo
JtkYGHoeKSkpVdSXHlvmp9ZMlepBZw/P9qPGi/H/5eXlDiS5ywkJDVlAPXdphvFYal9iNPDW2yTc
Li7OgkY3BweHNodYFAWoddF6hNTNq2vVtYLHa4Y1NOq+aF5eXpNJFhG4rqN4PisrK4l8SGNjowo2
WIJX/4rNZtcHBgZO1dLUirG0tMzy9PSsNzM326eqqkpzOIQGta7zc+fN/Y4cioGhZ3Hh4oX/mJiY
0F7+8PDwpSRZAvB+TlDz4uAcktQtrFix4jtZXjeuwuLp5Vmfm5trZGtnN4aaZmxs0ibhhnt0Fvez
tbVtU4hFkbCzt6uh3qOtW7e0upDKy8/LFS/QR48eLVE7ofa5FhrU2KQ+i2GZmbTQTWsMhZ7H4+1Y
uXIlI9oMPZfUoak0bxvXiWzYsEGNJNOYMnWqHnVeErTw8IhcktxtxMXF0UQDjcWyvjCxaqIRyfKn
gMAAmjfp5eXZSJJaBRRQgv2gdtIpMe6IiPB57h7uC6dMmdJtC9aCqNLCGNdvXDcgSS3y4sWLj02M
jQ8L98UZE9+9e0eLbz979vQzaSusJycnS72n7m5urRZu7AUDBcC9pMTEmEuXL7W5ZwoDg8Igzdv2
8vaS6W37eHsvoubF1XAOHNjf5Y2S4jx+/OhjNzc3kWh4e3tfOHbsGM3jwpg29dxNTVueu5uKcAg8
l8utIZs6lMlTpqgpKw95Bue1Bar43SLeGE8W3h9s7CObW83IkSNFjcXBwcESbSTLly+TKsQRkRG0
LoNCKisn0vIrKQ0WhLwGDhwkWHzB2Mioyczc7Iy3l3d9UlIS9+y5s1+QXRkYei6pqXRvG4d3z507
R6q3vXfPnv9oiHUBdHV1XUCSu51ly5d/B+J6wdjY+MLhw4ckqsnOLs621HM3MDBo0+g8IxAJ3I/N
Zrdpv7YQHBIiCOcEBAZuIZu6jOvXr/2H2jMDe4SQpFZz5cqVj+G+PtPQ1HwGz0OiQI+MjJKY0RFt
/IQJUkMyv/5682tleCeF+ezs7H7Kysr6BpyLb4YPH/7N6dOnviFZGRh6B9K8bT6fL9PbDgoOLqLm
xVGTs2bNMiPJckF1dbXa2HHjpJ7ThAmVNO/N3Ny8TcIEnrZgP6XBSk0NDevfe77q5oBawtc46Anj
tEOHpiWSzV1Cbk4O7f5YWVnR7k9GRsaU02dOt1gTsLe3X5+ZmSW1R5KzsxOt1oPWr3//pqtXr8qs
tcF9PyXKC+9ccVFRIEliYOh9iHvbGHssKSlRJ8k0fvvtwWfgcdJ6A9jY2BwmyQrBpUuXxKrdSk1A
q0MS4MnvFe4bFx9fRDZ3OB6eHpPxN0xNTV+dOnWyUwoIacTFxWULrw8NvFvafOVw/U1BQUFp5E+Z
zJ031+zRo4ey5rZppP4GGrxHzRag4FknUNsvNDU1Xw3PzvYmyQwMvQdp3jZ4WDK97eHDs2OpedEy
szKjSLJC8ObNm6+/+57egHnl6pVW95pwc3MTdTsEUbtDNnc4M2fNMkePG38nKSm5imzudKC2RetR
MmDAAFobAFzzc21t7TsrVqx47/i7eP9/NBaLtZckS+Xhw98/Bi9e1H6BhkPsra2tF5SWldleuXLl
7yQrA0PPRtzbxp4iixYtciTJEoBXROsCaG5h8byz15TsDMRX0d+2bWurhTshIUHU8IYeYHp6mjtJ
6nAsLCx+xd8BL7fTCghxeDwerUeJmpoaTbjBWxakR0VFvVdhsnPHdloMXWhQIErtw01lzpy538M9
uSC+76BBSk0zZkyX+d4ytBtcFR+/EcYkrWvB9QTFvW0PDw+ZYY9Zs2e7Cz1Aofn4+EiNYcozjx8/
+kzc4161enWrH8DGjY1fY+OtcF/wHo+TpA7HxcVF4N1jATFp0qT3KiAc+Pz/1NTUmJM/W0RdXZ0m
3Hp6ejThjoiIGI3bccKuOXPmDCCbW012tmStDS0uLk5qjxIqq1avUrfl2B4X39fV1XUzycLQOWwD
w1AWY5LWtYiPksQ1IkEcZHotUE1dTc2P3bDWrls3mCQrDPsP7JfoinbmzOk2lZwODg6iKjuKKohR
AklqE+Hh4QtWr14tM+QAIiny7n19fReRzW0iNzfXysjICId965JNzQLP9YDwN9HEPe7169ebC2cE
BC95J9ncatzd3WldSdFwZfnjx4+puLu5K40dOy5q1OjRUdOnT4+Kjo4xiIuPN8jLy4vicDiTcXEF
8X21tXV+XVhf/z05PEPnwAi3bOs6wNv+xljM24YqsExve8mSJSpULxONxWLJjIXLM5mZmVzqdWAt
4smTx/8iya1ieHY2bVIrfX39OxcvXWxzlzRs6APxjiV/StDY2CgqZGzY7PcKl5w9d7YPCN5zEORr
RUVFUrt4UjEwMBD13kBDISdJIkBEBXnw3qWnp7ep0DIzM5OIb6uqqjbp6uk+7isWwsJCUbx2RDUd
Xd3nEyorbcihGToPgXB/6ZPW5L77ftOjP95ig36vZdu2bd0j3MkpKROpHwCONisoKJDpbTs7O0nk
Hzd+vELGFCPCw2ld0bBfNklqNTdv3uhjYmIiiD8LLTgkZCJJbjXYFRF7WJA/JXj9+nUfHK6Px8f2
h59//lmFJLUJBwf+WDwGFBSvSktLmw1JaGlp0UIltra2EvensLAwUdjDA87v1fQZ01slnvPq5tng
u0M9/vsaFAAXZs2axYh21yAS7v+s/LUp5ejvRMJ6J90i3OCBfYMfMPUjsLCwOEKSJTh/4fw3OI0p
NT+fz/+VJCsc4l3RQLhPkaQ2kZCQkEg9Dnimr9auWdOqcIQQHNwCnvQr8qdUsBeH8DfAu/Ulm9vE
tm1b/6WrpycoaLC7p5ub27q5c+fqk2Qa8Gxpwo1hjHv37tFqE48ePewDgn5RmAfej2szZ85sMd4d
HBxM67HSVkMPHwT7vre39/AFCxZ8SQ7L0PnQhButN3ve3SLcScnJNO8ZPaeMjAyZ/WH9/f2HUvOj
RUVFdumgkI7i119vfqOtTY+TgpC/16jPlStXGov3jgDRW02SW+Tly5efYnc2tAcPHnxKNksA4i4S
UldX1zKyuc0UFRWxhwwZIioEMPRlb8/dk5ScFDlz1izRCFMejydofKTa2HHjJAqM0rIyc+pMiyam
ptcmTZokMxTz7t27T7F3DPW4VNPU0sTC7xyucQmFwjm+g8M5EOhzcH+msVisaV7eXsMrKyt5p06f
kmvB3rJly6DCEYWc2JjYSGtr60hDQ8NIe3v7SCh0I8eMGcNpbNygiJNeSQh3b/a8u1y4MbZtZGT8
kvrBgHD9Ch9VH5KFxpu3bz+1srKifWwGBgbPb9+61aaYsLwQGRkpUQjFxsa2uR/6b789+JRlbb1T
/Fj9+vVvqq6udiPZmqVhQ4Mofr1nz26ZjaMuLs4i4XZ2dm7TvCriBAUHsVXVVEXiLTTwql+CJ3vT
y8vrpo2NzWPxdBAeqfOypKakVgtDJmggUi8LCwsiSTKNkpISX2peoWlra/+anZ0dv3Dhwm9JVoWj
dvp0fQcHh1FwD0+qqakLQoni14mGNQYonF7asG1ORkZFjtq8eXOLbQ5yglThRgs78Fuv87y7XLiH
Dh1K87bR8vPzZXrPmZmZEh8beEEt9reVR37++ScM+dymXgsuKHvgwP42F0KBgYG10kQIzc7OtlXd
A1NTU0Xd4mbOnClTuB2dnEQDfkxNTds9P0rNtBq2iYmJKMzRGtPV1X25Y/t2icbXx48f9fH28VlL
vRfYR97ZxXk3eMcckk2Au4eHRDc+tLCwsDySReGYMGECx8HRYTeGk6RdW0umoaHxMiQ0ZD7UaOR9
8JBM4RaKd2+iS4W7oWH9p5qamjThsrSy/BWq6VK9bQS8CNrHhi/oypUrpQ6Hl3cCgwI3Ua8FzdHR
cRlJbjWenl7F2HVSeAyowdAaKdHbKhwxokWvm8PhiOK9K5YvlyncOjo6osZUA0PDDnlRFi1a/FVc
XFwtvA8S3rcsc3ZxqSW704DaQp+Q0NC11HuChmEkK5bVLz4+PsXl5WUZ4oOe0FRVVZp27dqpcF1K
N25s7O/n57d2kJKSxDWh4TQK8NweQG31vJOz03l7Lvc8/H1eV0dHEJoUz29kZPR41KhRUmsqckKz
wo3WmzzvLhVuqAZLhAng45Xpbc+YOcNa/GMDIe/y2eray7NnTz/19vGuFq++QpW1adq0aRokW4vs
27v306jo6LXUQUhQkD2fMWOGHnx4NAF0c3Nr0euGarWgEMUP+erVq4ZkswR8B75IuPEa9u3bq0yS
2k3Dhg0DPT09c6xZrPPYJU/4O1TD39TW1n7u6uq66eHD3/uSXWlg7xeoQeTIKghk1U4sLCx+jwiP
iCgrK9O/cPHC38jh5JqsrCxPFFrxa8F4P4vF2gS12pzptbWq9+/f/4rsImLzli3f5uTm8kH0l+jq
6tHuFRZ0UJstxvAkyS5PtCjcaL3F8+4y4T58+NCn4mECAwODX0+cOCHT23Zzd6cNuMGPr6i4WKEW
Xl2wYIGqvb39JnHRxmtJS0tr9QrgU6dOVbWxtj5EFSA8Znx8vKCa7+ToKJgQSmj4EdbNny9TYOF4
bsJjYc8SslkquCgx9dgBAQFtGizUWspKS78bPXq0v66erj/cm1pPT48cJycn/ylTpvI3b9n8T5Kt
WSZPmjTI3d19yaBBg1rtyaNhV0cQ/UeWlpa7/f39q4tHFXusXbtWroS8sXHDp9ExMXXYmEw9dyzw
+Hxe7cSJE9sUr541e/Y/Q0NDa9GBEB4L36nY2NhuWbe1BVol3GjYYNnTPe8uE26oykp42+CBJ5Fk
CWpra79RU1ej5be1tVWYLoBLlixR9Q/wr9bS0qI1xKKhxxwRGbn29u3bMgstIVNrpv4tJCSkWNpx
goKD1wobdSsqKizEvUoQsJGCg0jBxsZGVCiC591sd8SCggKacMcnJGSTJLmlpqZmkK+vbwV41DfE
V0pqjaGAgaAJhBzvP3jketgLhxy+y1lYX9/fxcX5HPUZ4/+hYPtl+owZ7ZrSuKioyEFbR0dU0OG1
h4aGydvixq0WbjTsKtiT6RLhvnbtKnbDonnbWLW/fuO6zEa5wMBAiUZM8PRkCr28AVXOheLnLzRr
a+vLCxcsMCVZJfjp6NFvCwoLPIJBmLXACxTfHz9Ydw/3tfv27qUJPwgwzcs0NzPbT5JoFBcXW1O7
EUIBupAkSYXD4dhRj2tna/feXQK7Gnj3+kyePNnM28srF65jk66u7oP3EXK8XywW6y4UhtUg4uzm
uk92NHPnzeNDregq9XzQy05NTa04fvx4i4V/S9TNm9cf3p0z1ONjX/uKMRUtzt3ShbRJuNF6sufd
JcKdmZkp4W2DKI0jyRLAy/ipqakpzcPEGOf5C+cVpgsgiIXGkMGDZVbXsfEIvN7rhkZGdSAGdW5u
bnWGhoZ19vZ217GlnxrHphqKDniA00+fOS3xwdrZ2zdQ82KPFYAmMJUTJ2L3SpoI5OfnNzundGRE
BG1uFQ8Pj3Z1CexOzp47+9WIESPUvLy8A1xdXaeDGB+G+/RAPPzQnGG7i7m5+V0HB4fqSZMmscmh
OwV4NhH4PlB/X19f/wHUsBxIFqksWbrk27y8vAg/f/9qNptdZ2xsUufo6IiWXlJSwr569arovYD7
IJi7Be7Dc7gPonfWxMRk+8VLF+Wlz3qbhRutp3reXSLcXB6P5m2Dt/B85cqVMkU4PT1dQuj9A/yb
9QrlkZycnIy2CEJLhh/s0KFDA8jhJYAaCS2kgba+oUEUjwbR+hQ+0o3UdCggn//6681mvbZJkyfT
hFtPT0+qJ6+ooJhXVVWpxcbFBfj4+EyHGtFhdXX1B+K9VKRZ/wH9UeBOxMfHF0Fh3WH9wN+8efNp
aGhokfiCxjhatKCw8AeSTYLJU6aYOjk5rYHzfykeOhMaTtBlYWFxNyEhoeinn47+DQovQcEQGxuT
lJebGymskSgPUX6TlpbmSQ7d3byXcKP1xEE6nS7cmVmZokYwofkHBDQrwuCJ0qptWE1FD5YkKxTF
xcW5KioqbWook2ZqUDXevHmTzA8WiYiIoIU00FxdXQTCPXv27L/x+fyN4s/C19dXZs1HyMGDB2jC
bWlp2XmlvJywc+eOr4qKiszc3N1zQeQ26+npPpdVCxKampraS6g9rSkvL2/X/CWLFi3+m5e310bq
7+Fz4/H5606dOin1HcBwZFhYeBV8Ky/7/ti3ydDQALsCbgahnw7XgIXRdHsu9zDUXB8Ij4vHBNG+
Kiwcdu7aJXhX4J1YLvxdOzu7PeB1y8PCx+8t3GicbfeI5PUMOl24oTp5TPgSoOEw52XLlssU4Zmz
ZrqKfyAOjg5HSbJCUlNTow+e7klp/Yhba/ABPieHk8n+/ZLTxYKHHhcXGxeuq6tLC4+g6ejoPF9Y
X99i+OnBgwf/+rHv/7xPvI5Lly/1qsVxDx069M8xY8c6eHp6jmGz2ReoPTHEDb1wDptzIi42Nvzn
n39qU8+UcePGuRsbG9OeFTouAYGBY65evSq1ZnTlypVPvby8NmKfbnjPNkPB4XD9xnWJroDI0aNH
vsrNzXXg8Xmbqe0caJcvXxII97Lly38AgRdsGzx48NOExMRWz6XeibRLuNF6kufdqcJdWVlpLZw3
WWggQMtJslRcXFxWUfOj5efnR5NkhQWqvn2gOh7o5Oy0Gfsay6rGytoOnlGLceUXL170QdGg7qen
pyfoJUDdhoa/k5iYkE92bRE8DnV/8EY7pUugorB06VL1uLi4XPBID8vqf4732NTU9BGXy60anpNj
c+r0Kakijv2mK8aMsfH189sl0dVPTfX5iBGFzU5bm5SUtNjYxOS3wsLCNs2WWVpaGqhvYCCqDfr5
+08jSX/y9fERed0RkRFTyebupN3CjdZTPO9OFW54qWkijJ70tGnTZPbD3rix8RsQNVF+NOwpAR5F
u1vO5Yn6+vqvC0eMcAQvKc/JyWkGeHAz/P39Z3h4eCRCwSX6YKjGYbNLyO7NAtV1iX2lmZub21Ec
Lk52axHqDIFoYeHhWSSp1wO1FnVnZ+c8Kyurm+KOitAwXg5e7CO4j8fB5oWEhMwLCgqaZ2hkNA/n
4hEvcNFsbGwulZSWGpCfkcr58+eVeTzeJXCSmg2jSePS5cvfgOctan/CEEtcXHwcphUVjRR1LzUy
Mjp87drV7q5hdYhwo/UEz7vThHvt2nXK1Jnb0KxtrE+TZKmEhoaOoOZH8/XznUKSewXwIdWL3wO0
6JjoVq0m3hrhNjExubR586YfyS6tAj1+6jGgsKknSQwEEMI+5eXljt7e3luosyC21XDf+ISEGdu2
bf0rObRMli5b9q/SsrI2PUshPt7eMfh72BgJ743gfLEHy7y6Om1Mh/dEsA2cqfujRo9+r+l8O5AO
E240Rfe8O024fXy8K4UvotCGDh3abD9sDodD632C1UbwTjVJcq8Au2BR7wEafli/nDjR4nwaz58/
+0Z8BRdxAwG+NGnSpDZ/6FAzmEI9jrW19UuSxCCFJUuWKDk4OOSZmprebE3vFDR1dfUXXB53RklJ
iRI5TKcCnvoG/F1PT8/lEyorbaHAeIF/Ozo67sB08PgF7yKGgvz8/AoFO3UfHSrcaIrseXeKcGNj
iZmZGa3vKQjSi4MHDsismpeWlLDEY7F29vYK3Sj5PtjYWEuMkLSwtLhFkptl2bJlEo2TQsOGKDc3
t2XHjx9/L+8sKjrKm3o8fFYVYypYJJlBBkePHumTn5/vCOK4zMjI6KK+vj56tQIzMDDANoiLlpaW
y+Li4xOnTJnyNdmtXWBXwrz8fGsXF5eJIM7H4du7Br91zd7e/pq5ufnc7OzsobNnz/5/cA778VmG
h4cLanOxsbH5+DcWNFOnTnWF8xIU1viswYnqccKNpqiLMXSKcOfm5gqqYFTz8vJqttuZk7OzRIgg
Ijxc4Rsl28Lp06eVpfU84djatqoPe1JSksR9x94P8AFugQ8xiGR7L86ePTNEfOpQb2+fVSSZoZWc
O3f2h/qFC3+omz//h8uXL7U5Lt0SqampJnw+/2xLPZigwHiIc9Tg/ysqKgQNzZcuX/qEZc26hdug
gNkOtYWfKfv0SOFGU0TPu1OEG6rV1AcuGCW4dOmSISRZgrt3736jra1N8zSx2njx0kWFGSnZEWQP
Hy4hvGhRUVGtKsDc3d2dQahn6urqzvTw8JgJHnbQ8uWyu162FRCEo9Tzwir0ggULBPFQhu4nIyNj
JHjGL7GB1MTU9FcWizWTzWYnsTnsIG9v73wbG5tlINaCcAjVJk2aZE8O8ae4uLhk8XRiPVa40RTN
8+5w4V62fJmyeJcmeGG2kmSpZGVlSQiWbSu9zJ6Eo6OjRK0DQxz79++TWeh1JYlJSdHi5wfCsP35
82fyOA1oryIbwO/OwcHh1PCc4U5Xr179hCTRWLJkyb/AEZiJ4ymEz9DKyupKY+OGfpi+c+eOT6ji
joNzsNYGta0eLdxoiuR5d7hwg9cn0TOksKCgWY9RfHFYtLKy8lb1ougp4JzdpmLtAmhmZmbN9sTp
SqAG9ImFhYWgKi007DLm6emlMJNO9USqqqu19fX1X8bEROffvnVLqmCLk5CQ4ARiLBJoPt/h50uX
LwkKYGtrG8EEafhsY2NjC8orKn4YmpbWYg+XTqbThRtNURZj6HDhhmoZrWeIgYHBizNnz8h8mfbv
2/dvdXV1UX40YxOTF48ePWzVC9hTyMvL86HeA6GFhISMJ1nkgoKCfG/x2fUwnhoeHj6CZGHoYoKC
guorKytbPZgKyS/I5xoaGdEcBTiOwKsGsRbVrNgcTnd72kK6RLjRFGExhg4V7kWLFrHEh6u7ubk1
G/IICQmWCJM4OTv3ujAJj8eTqHWgIFZVVclFmIRKRETEFPEeQBhXhSr4HFlVdIbOo6amRubqRdIY
O3YcV1VVRSDa2P4kfIaampovFy1a/O+dO3caCQffwPe7gezW3XSZcKPJu+fdocIdFhY2VfgSoOHD
r540yZkkS4XL5UoI1rhx43xIcq9g4sSJ2uLtAmgsFusnkkWueP782SeJiYkNwo9baPi3jY3Nhq1b
twjipQzyx+HDhzDcJagV6+rp3aqvX+isq6crCn95eLhPwHzCHiempqYomPJAlwo3mjx73h0q3HZ2
drT4p5WV1QuSJJW7d+/+W/iCCA2qby+ePXvaq7w2ey53JfUeCC11aKrcdod8/PjRJ1ClXi5ew0Iz
MDC4Mmv2bC7J2ix79uz+t4+Pz4jy8nKmT3gXEBkZmYLPCMNdtdNr/9t/OyZG1JPEwtLyxe3bt76x
YlkJ/gaPvNcKNxo2WMqj591hwr127doh4n1HcRUYkiyVpOQkibiuo6NjA0nuFYwuKbESn6UNTVdX
99bZc2flvgALCAgokHb+qqqqL4YPH55Ksslk9erVn4BX1zBw0EB89vIST+2x2HPtBVMmOzs5iWpz
t2/f/reevr7o2enp6r4QjvYcojzkEDhSCj+ta3tMHhdj6DDhjomJyRI+eKGNbSHkIa37W3RMdAxJ
7vFAjeMTSwsLWp93oYEXmkyyyT3FRSOT1dRUJfoH9+vXH5ebm4ChFZJVKps2bfo3jqxF733YsGHM
5FWdBAq0isp/5w/y9PCgfWd8B/4+8eeHpqWldeLly5f/INm6k24TbjR587w7TLg5thzBvAdCMzQ0
bIIXpdkP1tzCnBZawYaSX345IXeNcZ1FYmJiqXicGM3A0PDW3j17FCpcVFtba6etrX1Z/FqwETMp
KWnDu3fvmr2e8PDw8YJrNzB4sXFj47/JZoYOpKi4SDQlwrx582jT8rq4uJQI09CwnzcOz7ewsOjV
oRKqyZPn3WHCbWZmRvO4+Hx+sw8cqshDxKfAtLKykps+y53N2LFjraTN44xCl5ubq5BD/RfW1/d1
dXE9Le2aIiIiS0k2qSxbtsxIGC93Jw1krSUwMPAMDgTKzMwMefLksUIVeF1J6tChgh5cGAZ5+PB3
WuEYGRlJ690VFxc7/tatX/sePHhAXgrRbhduNHkZpNMhwl2/qF7UfUhoIcHBzVZ5AwMDJLoBOjo6
9oopXA8dPPhvY2NjCe8Uzd3dXS57krSWJUuXfhISEiLR4wTnOSkoKGh28QVcEg3zguf+AmocrRaM
8vJyI/T2UfhtbW0bTp78pS9JYqCQkZEhWJMUa7ZkkwjwrGkTlKWlpclbe4NcCDeaPEwJ2yHCnZKS
TItv40dbN7/OiCRLhcvlSsS34+Lienw3QIxrw7XTVmMXGgoWeJ5aJKvC8vvvv33i4+MjcY02bBuZ
hdKpUyc/MTIyEuUNDwtvk9ednp7eV1dPT1Drs7e339ZSXL03MmzYMIFwYwEn3nPL2traXnjv0QID
g+TtW5Qb4Ubrbs+7Q4Tbzc2NJsLY0ESSZAIeJ61KjWGTw4cP9fj4dnBIyBRpcW2svoL49JiG2TNn
z/zb2MSE1oaBIZNJk6qlet1BQUGCbmpC0wMRbmzc0KZqOhQWgmPg/U1KTEohm1ukpKTEJTAgoGDV
ypU9+v0bmpoqquXCh097DuA0CURdaNOnT2+2dtQNyJVwo3Wn590hwg2lNU2ELS0tml0fEeOQ4sPc
oZrcotgrOsnJyQWyptsMCQnpcSvKjBw5IkW8kOLz+RJLsM2ePdtOTU1NoleKp4dHm0Jn+/bu/URL
S0twHBaL1ao5zJFZs2b1BS/9soaGxouhQ4cWkM09jsIRhS7Ce2toZNjg5eV12cHB4ScbG5tZHA7n
J2Ha4CGDm67fuC5vNRa5E2607vK8O0S4wcOmfXDwEjTbELVgwQKJCf/NzMxaXAxXkSktLS2QNjoS
zdnJ6eejR4/0uKr906dPPjEwMKB53biqCkkWUFhYaIc9Sah5hIZL31VVVbXJ8wMBFozExQJjQmWl
C9ncInv27O5ramp6iwzdzySbFZ6q6ur/S0pOSoaCbBtOlSx+j6UZfL+tLvS6ELkUbrTumBK23cKN
4Q3x0XPgtTRb5QfvUmLgja0tRx5Wku4UqqurCsTX3xQah8O+sn/fvh7bmMbj8WnTIIB47MPtK1as
+L+goODxAwYMoIkJer3qGhoisbeytLp87NixVodMPD09S4X78ni8NnnsmZnDBKEWJSWlFwsWLlDo
tobNW7YMjoyMnKWpqfm78H601uy59vL4LcqtcKN1tefdbuEODAyU8J7nzJndrJfk5+dLi6ehBQcH
98hRcxMnTpQp2kZGRlfmzJnbo3tAxMTE0Appe3u7Jn9///Fw7RKCAjWSFznDh/tGRETQQixOzs4N
uDoLOWSz5Ofni34PPWiyuVVcvHTx3ziCU/CbTk4ryGaFAufTDgsLKxA21LbV8L5DLafVNZUuRK6F
G60rPe92C3dScnIm9cHjxOstxcfgg6J19kcLCAjocT1KSktL85UpE9ZTzcjY6MrYceN6/GRMmzZt
lLkOJtUwxh0UFCSY3wRDLFwuVzA0Gw3FJDwiouHmzRstijd2tRQOwcfG0NlzZluSpBZJSEjIF+6L
A1BWr16tUAtVF48aZWhra3tKvF1BaEpKg5tY1qxjUCupdHd3D83KygpNSEwIdXFxSeXz+XNsbGyu
enh43CaHkzfkXrjRusrzbrdwW1tb07xnS0uLFg8EHoHEjIDgmclbK3a7SE9Pz8dCTPw60UxMTK5U
VVf3ihn0QIS1pN0DquEKLGPHjjUmu/xpzJgxP0LBRvMYUYygVtZw+szpFsWbw+GI5oRv7diAwMCg
fPHV2J2cnRRiXMHx48c/gUJnHLxvUr1sjG17eXnNmTxpUovLzJ07e/Yb8l95QyGEG60rpoRtt3D7
+fnR+uvCR9hiie3j4yMh3G1thJJnoPaQL77YgNBMzcyu1NTU9JppT8+fOyfT4wYv+yUU4pU7tm//
fyT7nw4eOPBv8BqlDk5C8fb391/f0iov8E6K3i9chmv9+nXNxsgrKiqcBw3637zUQlNRUXkxc8YM
eRk5KJXx48cPdnV1lepl4zXZ29vPqa+vVybZFRmFEW60zp4Stt3CLb4AgLa2dou9Q+BFkxDu+kWL
FF64sZtjRGTETHHPTWhQO7kya9asXjVXdUFhAW1gBzZkm5mZPYQqeeXKlatogjJs2LBP9A0M1lPz
ixsKFNTOFpBdpIK9Iqj7eHp6rm9urhQQt0vU/FRzc3OT+lvz5y/4a3R0dJCfr+9MS0vLmXZ2djN9
fX3H4baioiKNc+fPdepSX1jzSEhMyNfU1JTqZZuamp6trq52I9l7Agol3Gid6Xm3W7h1dXVpItya
bn3gNUkI97TaaQot3NidLyw8fD3GVcWvDQ0E4Ap4lr1ugYGkpCRXqH3MMTMzn4PrkY4dO87typUr
Ig9byKZNm/5qaGTUrGgLDfvCjxlTEUV2pVFeXuYl/gwEc6VERo4mWWiUlpY6U71Vc3PzK8bGxqJQ
C85wmJ2dTfuttLQ0W2MTk9+EecStH9S24Lv4DcR8K7zr+aNGj7Y4dPBghwl5eka6BY/Hl+plDxw4
8GVwcEhlbW1tT1vAWeGEG62zPO92C3ffvn1pIgzeTovCDR4KrYsYWnBQkMIKd+XEiZ84OTmtl/Yh
obFYrMbGxg0SYsXwX5YtX/4j1MJker0ODg5XwENvpG5jWbNuiQ/b3rtnz48gvDRvW2jY6BgVFSWx
LqOLq4tgYVw0XLqrrLy8X1JyciV1X4wdQ20gCfMvXrxYU11Do009NrAGpqWl9Zu1jc0Wb2+v/MrK
SqfNmzf9S3ACrQTu0V/hHILMLSy2SBsPgO8efHtni4qLRW0FPQyFFG40bLDsaM+73cLN5/NpLzHH
1rZF4TYwMJDoDpiQkKCQM+JBlfhHExMTqZ4ienoBgQGN69ev62neT4cxfcZ0A0NDQ5miraOtIwgv
nTp96hu4zyJPGIUKvGXBCi7Izh3bfwSPnnYcLpd7ljoDJQoon++wbNnSpUpktz9ZWVmJhB5qRYL+
y6tWrfoUvO4rwu1o6OVD4bzFw919K3U7Gj5nWYW2NMP82F/dxsbmIlz7DCi08nx8fIImTZoUNH7C
eIvyigqLqTU1QeA5B4HHPhbybYH8v8n6DXV19ZfJySkTd+7c0ZPfM4UVbrSOnhK2I4Sb9hK1JlSS
kBAvIdw8Hlfh+nEfOXz4R/AEpYoOfugBAQETnz59woi2DAoLC4O0dbRleq+mZqYvQcxEPSFSU1JS
qekgeIJeH+jBGhkZ0Z6DiakJLnz7ja+f30TxAWIomiCUyzKzshypfezz8vNEy61BYcHS09OjrYIu
biiYwcFBI8PDw3UK8vOtoeAIY3M4c01NTa8pDR4sdZ+OtEFKg7CxdufUqVNVyGn3ZBRauNE60vNu
t3BDNZb2MmHMmyTJJCg4iEvdBw0KAIVasuzo0SM/Ojs7SxVtnMI0MzNzJMnKIAZ4z31CQ8PGUlcY
FzdTM7OXy5cv55FdBKBHSV2jFJyE0w6ODlvEe4TA3y9HjBgh2tfP128kPhNqHjSqB4vifuvWLVpj
6fwFC3gg3lep+1AtM3OYzKXZFtYv1I2JiRnK4XBWQw3zkaxeRu9jgwYNeunl5bUTCixr8nO9AYUX
brSO8rw7QrhpXgm8pC0uhrBu/XplcS8IPCZ5nB9BKiA8EtVyoamqqr6Mjo52J1kZxFhYX/8jFNJ7
mgst6OjoXi0oKJDqRYKg75e2j9Dw/oeFh9EEH6moqHA3Nzc/K95wKTQ1NTWpH8DMmTP/n5e399zB
Q4bQ3nNtbe2mi5cutqo2dfPmjf83evRoXS8v73AXV5e54JUfh/O8g4N8WhNiwTxqaurYcHrc29t7
ZN38ut7gYYvTI4QbrSMG6bRbuMGToTVOslisVh0IXkLah4DxR3ghB5NkuWX9+nV92DY2EnFONCNj
45fjx4+XEA2G/1I4otDRpJneGGi2trZnp9ZMldn7xsvbS6JHEhqKm7W19VUQaBOSVYKTJ3/5NCEh
IRw89Z0qKiq0/dGTJ9mkMmXqFBV/f/8qUzPTayi4VlZWZ0jSe3H9+rVPx4wdO6CsrMwdam7hgYGB
VTweb56xsfE8TU3NefB9zHN1c5vH5fHS0tPT3ZctXz6A7Npb6THCjdbeKWHbLdympqa0D0mW5yIO
vPi0NSrRwJuQaPWXJx4/ftQHPt514ueNpqWldXXmrFkyRaM3UzdvXp+YmJjp0sIVQsMamJ+f38bS
0tJmvVg7e7tZ1P3QgwYhfhQXF1d07Nixv5FsLTKtdtoAX1/fcEdHx3lsNvsEl8u9TpJaZExFxYB5
8+YxBXTX0qOEG609nne7hRvEVsIDAq/UkCTLJDo6WmJVePDG5HrNyaCgoFHSqrYgHFdLy8r6k2wM
FKbV1hpwOJyT4veMaijooaGhRW/evGkx9BASErJYQ0PjOp/Pv87j8+ZFx8S4nz13ttWCzaCw9Djh
Rntfz7vdwg3eimgaTaHFxsaKumnJYvfuXcri/VHRexoxYoQTySJXFOTne0obFg1V26szZ85kRFuM
TZs29UlJSRmjoqLyXPyeUQ0K60ejR49i2gQYWqJHCjfa+3je7RbuxMTEbPGP0cXVpVVd+xwcHY6J
78vjco+QZLlhYlXVDwYGBhICpKOre7WsvJwRbTEKR4zQhwL9ZHMNb1hIgye+ceXKlcz9Y2gNPVa4
0drqebdbuPPz8yUmEWKxWK3q2pecnOwrvi9+0IUjCiNJlm7n7t27fZycnI6In6e+vsHLmpoaHZKN
Aaiqrv4qPDx8OtSkmvWy0VRVVX8vLSmJ/O23B33I7gwMzdGjhRutLZ53u4X79u3b34j3xzUzM3tO
kpsFB6dYWVqKRsMJTUtL+9cNGzb8QLJ1K+EREcXiniPOB5GTm8MnWXo9Bw8c6JOclJRgYmLygHqf
WjLsSWRvb//L2LFjA16/fs0IOENz9HjhRmvtYgztFm7ExsaGJr7oNTc0NLTYQImMGFEYL61K7eDg
sOXS5cvd+jGXlJR4Ytcv6nn1/bFvU1ZWVg7J0qvB2kh+fl6AhYXFL/jMqfepLYajTDkczu68vDwz
cmgGBnF6hXCjtcbz7hDh5vP5i8Q/xqCgoDyS3CKwv0SsG8U8JSVl7Zu3b7tFvNPT0xw0NDQkqvx+
fn5LSJZey8OHv/cpLi4KALH9RdYUtmg4T0hzcW5xw8ZfT0/PTXPmzNEjP8XAIKTXCDdaS553hwh3
UlJSrPhH6ODoeIokt0jd/Pk6IJIS80Jg396hQ4euvXfvXpeJ9+HDh74KDg6ukLZOJJvNvrZo0eIe
MffIiJEj9ZydnTcVFBQEkU0t8uzZ0z5lZWX+9lzuL9TJm8QNnxuXyzufn5/vER4eHgE1sl9welRp
eaXZoEGDnvv5+9du2bJZLsJlDHJBrxJutOY87w4R7k2bNn0jPrgChW/16tWtnroyJSU1HqvM1GOg
ocfG4/HW7t2zp1M/4nfv3vWZMGG8P5vNuSh+DmhDhgx5OXfu3B4xN8S4sWNzlJSUnmN4o6KiosXJ
9v949arP+PHj/aFm1KJgm5qans/OyooEkacVcNnDh3Pc3d12NzcIR9x0dXUfQMGd09Cwnol/M/Q6
4UaTtRhDhwg3Ah/1WfEPLyIystXhEgS8rApZsVJLS8sHI0eO8CdZO4xLly/1yc7O5tva2u6WVnCg
4fwXiQkJAWQXhQaulS0c7g3XfJxslsqbN2/6VFVV+Ts6OYHHLP3eoGG4BLzq8xnp6ZGXLl9utkYy
b948jouLy9oBAwY0O/Oe0LDgxhg6ePpMY3DvplcKN5q0xRg6TLiTk5NHin90dnZ2v5LkVvHm7dtP
wyMi5otPQCU0nGHN2tp6Y0JigunTp0/a5YXV19erhoaG5BgYGp6QFadF0eByueerqqt7RKMZ1ID6
mJqZ/Sq8voyMjFiSJMGUKVP8nZ2dTzQn2Pg8zM3N95RXlEe2dfraoqIiNXg/5uNMd9KOLW6Qr8nD
w2NxY+PGgeQQDL2LXivcaOKed4cJ95q1a75RV1ejfWzoPY8cOdKRZGk1/gEBo6St8iE0FAwTE5MT
7m7uw8dPGG967vy5L8muMlnfsP7bESNG8L28vMrBgzsoPsmQuGlpaT0OCQ3NaMmDVCQioyLzhNeH
kyrdvHlDYkVvEFRTLBybm4YU49UcDmfP8OHDOWS392ZCZaUaHGt+/1Z64IaGhs9jY2PjurLdg0Eu
6NXCjUb1vDtMuBEej7da/ENzcHB4r5GQwzIyPPX09B6LH0/c0CMEkb3P5fLOaWlpT4PfmxYUFDTN
29t7mqWl1TQQ6Y3a2trnUKha08NBTU3tVWRU1PwNGzb0qNnYME5tbGIs8rbB291JkgSAYA/08HDf
2Nwc2Wg4nemoUaNkeurvS01NjZmPj88e9Kyl/S7V/tv4yd1VXFzMeN+9h14v3GjYYImed4cK9+zZ
s93Fww7YmFVaUtJmrxtZvGTJAD6fj9Vp2jE7w3R1dR+D2E9atnyZGvn5HkVVVZUXteACkRRMS3Do
4MEvwyMiypWVlVsc7Sg0nH8kICBg2uHDh74XHLwDqays5EChsqe5EI3QoIb3PDs7u/z0mdOM993z
YYSbGHYV7FDhRsDrPi7+gZmamh5+8OD9hzZPnDjR1tfPd8/AgQNfiR+7PQYFwiuM0aakpAxbWF//
d/JzPRI+nzeZeu0lJSXccePG6dna2l6gbqcahrqgQLuvrKxyU5onDmkXptXW2pCf6FDGjx8XxbKy
utDSwB4sjGxtObsmVFYy3nfPhhFuillUrepY4R4/bpyE140fV3p6ept6mEhj+owZakHBQaNBbE8O
Hjz4VWtCH1TDlb51dLTvszmc9bFxscNKSks63GOUVywsLERhErwPo0aPqpI1cx9pBN4TFxfndfTo
kc9w/+LiIqWoqKhhZmZmF6j3XV9f/3n9onp1wY90MOcvnP/M398/ytjYuMWQmY6OzvO0tLQ47NZJ
dmfoWQiE+6Ovv2/qo2bS6+0v/VQ7VrgRPp+/U/zDwlGICxcu7LAPfM7cud+nDk31cvdwH81hcxY4
OTmdcnR0/BUE51cWi/Url8v91crKaq+lpeWCoKCgyampqVHJyclK9+7dEwhRb+L4sWODqaEHLFil
9dzB4fxw//bm5eXZkl0l2Ltnz2dubm605xsUFLiAJHcKM2fM+Ht4ePgCrCFRf1fcMCzn6em55uiR
I72mQO5FCISbManWMUyfMV0XqtYSHxmHwzm8b+/ej0k2hi4iMTHRS/xZiBt4tdeKioqiyC4yqaio
8FPX0KCFV7y9vWpIcqdSU1NjzuPxDsvqLio0uJYLtZ0UwmHoNkLAsF2GMUnrOGJj46qkfVThERHz
SBaGLsLe3n60tGeBNmDAgFchISGToUBtNsY/r65ugIeHRyO1myDGny0sLDYfOXy4y3rg/PHq1Wdw
vlHYmEy9DnFTHjLkeWZmZnZTUxPjKDAwtJaz585+ZmlpdUL8g8LqLC6+QLIxdAHOzs5SF9g1MDC4
XllZ2WyPnxMnTnw8NHVoto6O7jPqvhoaGq8CAwOH3b59u1tCTytWrBjg6em5vrk5UDAkFBERsXrK
lCmMeDMwtJZZs2framlpSYRMcBa4kSNGMOLdRZiYmJwSfwbGRsZbdmzf3qynvHDhQl0nJ6fj1J4d
+H8+n3+kurq6Uxok20pR0choI2PjJ9RrEzdHR8fjc+bMZeLeDAytJTs7O1DaKEjsXpaSkpJFsjF0
IiYmprR7b2pqeqdy4sRmPeXkpKRYTU1Nmpetpqb6Kjw8PPPZs6dy1cDb0LB+IBQwDdi4Sj1fqpmZ
m92vqalh4t4MDK0lMTGxRNp8IFjNDQ0Nnbp79y65qsqePPnLF3fv3u0R1ev79+9/LD583d3dfTtJ
lmDVqlVf+Pr61osPgLHl2F7Pzc2RCy9bFrFxsdHSanhC09DUeBYREc6INwNDawGPqERab4D/DqCw
3QnekFwsGjts2LAYQ0PD+zw+fxjZpNDs3rNbYk1Qa2vrMpJMA57Bdzwej9ZjBAvcoOCghn179/6D
ZJNrysvL1eF9kjo1LxrU/p5VlJczNT0Ghtbi4uIi1fNG09fXfxYTHR1z9tzZbvN0R44c4SacLzo6
Orpju9l0E6kpqRLCHRwUJHFtlZWV38EzOE/NB576KyjISkgWhWHpsmWfBYeELJQ1bB6nUIiKimLE
m4GhtSQnp5TImnsEG77s7e2PTZo0yYdk7zJ+/fXm1+Bp3xSeS2pqKo8kKTT+/v4SfbizsrKGk2QB
x48f/xq8cJpoq6qpvoqOinIiWRSS/Pz8TBUVFamhExR1b29vRrwZGFpLSnKyj66ensxYJMZk7ezs
9hUUFvhcvHTxC7JbpxIeHp4r/H0M3xw79rMJSVJooAAqpN5bNGNjEyuSjIslfOzm5rqKmq6sovwK
7r1Ci7aQmpoaJy1t7evU6xMadk318PBgxJuBobVA1VzD0dHxYnPzjWBMnMVi3XNzcyutnFhpdOHi
hU4Jo7x8+fJjY2NjkbetraXVccNIuxlXFxcJ4Q4NDRUJd0JCwghqdz+cxyQtLa3V61AqAouXLBnI
5/Olxr3R8w4LC8skWRkYGFri9JnTn4FHOFVVVVWm9y009MJNTEyuOju7LExMTIwZNWrUkJ9//ulv
5FDvzb59+/49YsSIMGoBYs/lviLJCo+mpqaEcBcXFwuEOyoqypq6KDLeg4CAgHGCHXsYRUVFn9nb
22+V5ihgYZWfn8eINwNDW5g6daqGj4/P/gEDB0h8VLIMhVxPT++ZpaXlaVtb2wbw3qckJiRM0dLS
8nZycvIODg7yjouLE/zr4uzsra6h7p2cnDzFw919ioaGxhRXV9fTkPe0oaEhHIv+u9ra2jK7yyka
Xl5e66jXhgb326qoqJilqUXvpw3Ctvvp0yc9dhKuEydOfBYeEbGVWsMQGhZgZeVloSQrAwNDaykv
L+c6ODjs74qFE5ozHCJOTknh4fF4EsPds7Oz56iqqtBEGzzzO6tXr+7xc1q/efv2M3cPj6nSxFtN
Xe1Z7fTpLJKVgYGhLcybN48LHnE9eMRPm4uBd5a5uLouJqei8ECtREK4xe8pFpTDMjKcyS69Ai6P
O07au6Wvr39zYX39dyQbAwNDW1m7du0/ExISYtlsdqOamtpTaV5SZ5iurl6P6MONgBCdlHaNQkPx
iomJ6ZFx7eZ49+7dZ3FxcVJj3lDrO3T48CFmYioGhvayc+eOf44cOdLXw9OzxszM7ICmhuZTbFQS
/+g6wlgsVo8Rbjs7O6nXKDRPT8+tGD4g2XsVd+/e/czJyWmrtPsSFBRUSbIxMDB0FL/+evOfaWlp
yiNGjIgFccp2d3dfpKqmusjV1fWOlZXVHW1t7TvKysp3Bg4ceKdfv353Bg8efEddXf2Onq7uHWtr
6zt29nZnwYtfBHnuin+0fB6vxwi3gYEB7dqoZmNjsw1qNb1StIVMrZn6GY/HuyF+bzB8NHrUKFeS
jYGBQZ7Q19eXiAFzudweI9zSFvnFaQdCQkMbGxs39GrRFjJ+wvhBhkZGf4jfJ11d3Zvbtm39mmRj
YGCQF4xNTCSE29zcvEcI942bNwzErw0NairjSRYGwsiRI4PFZ1FEc3Jymk2yMDAwyAtsNltCuHV0
dHuEcC9atEhigim05cuXiUZOMvwPX1/fWeL3CsV8zJgxfJKFgYFBHsC5qcU/VjV19VEkWaGJjY2V
KtzHjx9nhFsKq1at+hxqWxLxbhsbm3NXr15lepkwMMgLINyLxT9UPz/fHjEAJzAw0FP82tB+++03
VZKFQYycnByOtJBJQkJCPMnCwMDQ3VhaWErM5WHNYvUI4U5PT5e4NpwRb+3atZ5q6mpfe3l5fV1Z
Wfn1ubNnmQY4Ci6urivE75uRkdHNnTu2/4VkYWBg6E5iYmIkxM3Q0PAkSVZooDYhcW1Cw5kXscub
pqYmrkGJCziftLGxOWlnZ7vOyclpEljkpEmTPJOTk/957969z8khewXTaqd9q6GhIdHLJDYmJo5k
YWBg6E483N354h+oqalZj5jWVVdHV6Zwt9Zw8iVjY+O7XC53D3iioyorJ3guWbLkn+QneiwBAQGT
xO+Fvb39TZLMwMDQncyfP1+iAQ+90YMHDgwiWRQWHx8fiZkB22s4RFxPT6/J0tJyd3Bw8Kiq6ir9
27dv97gQws6dO77V0dWled147RMmTOgRKyMxMCg0d+/e/VzaIJWw0FAOyaKw8B34Ej1mOtpw2gEW
i3XZ3c2teOXKlfrkp3sEbm5u08Sv19HJcT5JZmBg6E7YbLZEPFPagrqKhrSZATvTMKyCc3oPGzbM
c+PGRoX3wlevXmUgPsWwoaHh0z9evWIaKRkYuhsrKysJgXNxdl5HkhUWS0tLiT7JXWEYarKysrxc
UFCQfvLkLwo9rB7u4R7qtWG4ZNKkSQpfG2NgUHhsbGwqqB8nGg7EIMkKC8vKinZNaKqqKug1LtHR
0VmirqG+ZMCAAUs8PD3vcbnce0ZGRveUlJTuqaioCEYMSpvytC2G+1taWZ4dnp3t0dTUpJBeqpub
a7z4dXl5e/eIAVoMDApNZGSkv/jHOXDgwKar164qdAOlupo67ZrQ+Hz+HyRZJqdOnVLLGJahlpqa
6uDh4ZHg7u4+3cLScpOxsfE9DIe0VdBxQV6cPnby5Mk/kp9QGA4fPqzafwB9QI6jk2OPWSGJgUFh
2b17lyrOmEf9ONEyMjI8SRaF4/r1a4OkLs+lptYu0dm5c6da9vDhAVAAjDE1NT08ZMiQP1or5Pr6
+k8LCgoiyKEUBmtra9rUvz2hNsbA0CMwMzOVmJfbxdWlmiQrHNOmTZM6TwmHw+lQb7FhQ0M/Pz+/
ADt7u83KyvR1LKUZhmASEhLmKdIoRPCwN1GvAWoePaKfPwODwmNnZ7eE+nGiWbFYv5BkhYPH43HE
rwfN1893E8nS4dTW1n4dEhKSa2ZmdhUbKKX9Php66Gw2e3l6erpCiLeJiQltIBOG0UgSAwNDd5KR
kSHRCIWNdJcuX1LIUYIpKSlSR03q6nb+lLWPHz/6PDcnJ9GaxbraXBjFy8vr6Lnz5+T+/gYFB9Hu
JV4T8H8kmYGBobs4fvz4tyrKyjRhQcvKylLIODeumyl+LWjgEXdZ//Tr1699HhUVmaulpfVc2rmg
2dvbL79w8YJce97hEeG0e9mvf3/G42ZgkBesrVmHqB8ompOTk0LGud3d3deKXwtaTGysP8nSZUys
qlLicDjHpHnfuC0+IWEmySqXwLnThFtNXY0RbgYGeSEsPHw09QNFM7ewUMg4t7S1NNGqq6u7ZREF
8KrB+47aIq2nCw6bLy8vDyJZ5Q42m11HPV/4mxFuBgZ5YfLkyarijWpDhgxpOnbsmMLFua2trZ9S
rwPthx9/aLp0+fK3JEu34OjkNFGa521mZvZ0y5bN35BscoWJqckvYud6iCQxMDDIAywW6x71I0VL
TExUqDg3jlJUU1OjXQOagYFBt3uKcG6f+/j47BQ/NzR/f/9FJJvccOTw4UHik5Bxufa1JJmBgUEe
cHZ2qqV+pGj2dnYKFefef+CA1D7cUMW/R7J0K0ePHPnWyNhYooBEgSwtLVUm2eQCT0/PWPHzzMrO
ZpYxY2CQJ3KG50gsrGBrZ6dQI+Wio6I8xK8Bzc7OTm6GamdlZYVJC5m4uDjXkSxyAY/Ho03UhTWZ
Y8eOfUeSGRgY5IFnz55+oaen95r6sWKc+86dOwoT5+bz+VK7AlpbW1eQLHKBjY2NhNdtYGDw9Pnz
Z3LRPTA9Pc1RvDHV0dFxL0lmYGCQJ9hsNm2IM1pOTg6bJMs9dvZ2UrsCxsXHyVUV383drUTaec6Y
MaNber5QOXvu7F8cHPg0bxtrCPAeeJMsDAwM8kRkREQO9YNF8w8IUJiFFcCzljoP94IFC7pdEKlM
nTpVaiweCph0kqXbiImJyRI/LyjQfyXJDAwM8kZ9fb2ZePzVxcVlLUmWa548efwPaT1KdHR0mt69
e/cFySYXvHn79gstLS2Jc7WxsenWQnLx4sVGysrKtO6U+D4kJSUy3jYDgzxjYmJCi3Pr6uruJkly
TVFxEZt63kKD65HLvsfSul/qdMF8KrK4dPnSP8CzPiN+TnZ2dvtIFgYGBnnFzMxsC/XD5XK5CjFa
Ljg4eCL1vIXm6+dbQ7LIFaqqqhIjPLFxlSR3KcuWLf/B2tp6tfj5aGppXp83b542ycbAwCCvsNmc
sdSPV1HmYAZv8QT1vIU2atQoB5JFrtDS0joofq7Z3dBPuqCg4AtnZ+ft4iGyQYMGPRldMtqRZGNg
YJBn/Pz8aF3qMEZMkuSWFStX/kNNynJlGhoaz06dOvkVySY3PHr08DNDQ8NX1HPt179f07Jly9RI
li5h/ITxX4CnXSc+3cGAAQPeRkZFZZBsDAwM8k5iUhJNuOVhuHhLpKelRVHPWWjYvZFkkSsqKye4
iPeTNjExOUuSu4T6+vqvLSwsJUT7xx9/fOvq6lJx/cb1j0lWBgYGecfLy7Oc+iGDR/aWJMktLi4u
Ev3P0eLi44aSLHLDtNppHzo5Oe0RP9ewsLAikqXTWbZ0aV9PT88D338vKdpm5uZjps+Yzog2A4Mi
wePxdlE/ZiMjoyMkSS5p2LDhH1paWrSwA5qamvrbhg0NcjVE+/HjRx/GxcWn4/qT1HPV0NC4s237
tv4kW6eSlZ3Vn8/n/yQe0+7Xr99bKyurMTk5OYxoMzAoEgsWLtRQUVGhiSB4s0tJslwSHh6eRD1f
oXHt7RtJFrmgsrLyw+E5w9NVVVVp9xdDFZGRkVkkW6dSXl7ONjM3u0j9fbTBgwe/9fPzHVNVXc2I
NgODIrF+/bovbGxsVol/1MOHD48jWeSOe/fufcZmsyWECMUwIyPDjWTrdhbMn/+1t5fXWBBIiZoB
nP/efXv3dmoD6o7t2z+Mjo720tbWlug7rqam9iQ6OmbohYsXGNFmYFAk6urq+nN5vHk//vgj7aM2
MjJ8AoIud70yhIAHGS1+zmgcDufO/n37ul2ITpw48UVeXq6nmZnZgb59+0qcp4aGxpXx48erkOyd
wt49e77w9fXNE69Jffvdd9hj6MrYsWMDSFYGBgZ5Z/PmTX/OHDasb1hYWLKFhcVF8V4OKIhBQUHD
SHa5Y8uWzV+AQEt42xi7TUlJ6ZLQgywOHjzwlYeHh6mtre0aCcEkpq+v/wRqM506h8rC+oU/crnc
eQMHDqT9Nj5bPp9/eMyYMVokKwMDg7xw9+7dj6fPmPEJCNwny5YtHRwQEDA4ISHR2cXFBcV6iaqq
6mXxhjI07G0AwrN50qRJclt9Tk5JLpO2jqOVldXdjRsbu7yW8Obt2w8nVFb+Kzo6OpjNZu9QUlJ6
In5uQtPS0rpSUjK6UwcGTZkyxcbSyvIn8XukrKz8OjAwYNr8urp/kKwMDAxdwcuXLz8cN27sJ1XV
1T9y2JzBqUOHOtvZ2TlzbG2D4+Lixjk7O4+DavA4BweHRhCyfYMHD96np6d3C8TkFog1CLOk4AkN
8r729PRcLM8f9ogRI2w01DUkPFn0JLOyslJIti5h1qxZHxeOKDT18/MbA/f4tPhyX1SD83sLHvDh
opEjO83T3b9v35/T0tIi4fnT4tlYE8HQTNrQoZE3b95g4tkMDF3FlKlT/uXv7+/k5e013czMdJ+a
ujp6zLdwVrwBAwY2K8jNGe6noqryh5mZ2e7Q0FDPVatWye2HPX78OE2oLUg0sqE5ODr83BWx7SdP
Hn+Yl5f3r+Dg4CBra+tGEMQn4t3rqPbDDz+8NTIyug33tqhu3rxOKxAX1i/8OiwsrFa8EfTHvj++
hQJ+MxT2TGiEgaGraGzc8EVYeFiSgYHBaVyVhvpRttVQpPv27fsWxP4lHOuMubn5bv8A/8phw4bZ
Layvl6vpT8XJzctV1tbW/knadUFN4sn06bWdGjM+eODAnwsLC7W9vLzGaGpqnhaPHVMNhRxrL4aG
hkc9PD3TpkyZ3KlrSkJBosvhcA6IN9YqKys/gYK+aPPmTUxohIGhq0hPT//CxoY9tyWRwA8W7A8Q
i5daWlovVdXUbqMw6+sbnDExMTmqr6+/ytnZeQ6LxUpNSEgIj46ONg4PD//mypUrci3WQkpLSqzB
074p7fqxIIqIiMgkWTucS5cvfRgXG6vs7x+wGAT7QXPeNTynN1DAXnF1dZ2TnZ3tOWPG9L+Tw3QK
Fy9d/AKuPUJXV1ciNAI1qEtDhw5lJopiYOhKsJ8yj8ebKz6fBHrN6DHr6eufsbS0XAXV9RFQRU51
cnKyA3E2HpaZaQwetDKI8zfLly//5v79e50qHp3J7Nmz/xwbGxsBgik1PIL3wtfXd/nePXs6JUQy
f/78L/38/HJVVFRuyhLsfv36vcEGR3gOcyIjIz3nzJnTj+zeqYwbN66fo6MjFuq00Aj8/RbemyUT
KisHkKwMDAxdBXjb0eK9PkDAroCQTAQny7i+vv4bkrVHUl5R0Y/L5U4bNGiQ1C51KKS2dnZbVqxY
0SlhgMbGxu89PT23S+t5gzUcDQ2N265ubpsgj+eo0aO7RKyRnTu2/xk8aQ9TU9ML4u0a2traj6Em
lcaMgmRg6AZ2bN/+mZGR0QXqRwl/X5s0aVKPn9h+w4aGf8bExCQZGhhICJPQUDidnZy3lJaVdYpo
nzp18kMPD4+V4l42zulhbGx8OiY2ZiQUrMrPnj3tUoFctmxZPz9/v2nKYv3DsVZmYWFxpLCw0JJk
ZWBg6GoSE5OiqKI1SEnp7ciRRc4kuUcye86cv4aGhnqYm5vvby6mP3jIkDfe3t61q1ev/ifZtcMp
KhppN2DAANrvYm0nNi4ufcGCBd+SbF3Ghg0bPsrKzvZgs9kXxENncJ5PwemvHV1S0mn3g4GBoQWO
Hz/+oZ29Pc3b9vLykqtJkzqK6zeuf1hTM/XHuLi4REsry6MgQlLDImhYkBkYGFxOTk6OPHX6VKd6
us7OzrSpYqG2c3Xs2DHdUtupqq7u6+bmOk18FCbWBvT19S+D5x/I9M1mYOhmiouLbalzWygrK7+t
q5tnSpJ7BA0bGv4aHR1lEhgUWKunp3dJ3LulGgqUqqrqYw8Pj+njx4/v9Aa32bNmqVPj6oMHD36b
lZXNIsldxtlzZz8PCQlxlxbLHjho4Ft7e/ulI0eOZBogGRjkAVdXV5q35+Pj0yO87cOHDv01e3i2
CdQe8iwtLY5CgfRYVk8NNEwbAnns7blLcV6Proon+/v7z6Seh5u7W5fefxw+n52dPcTd3X2VkpIS
vQYC90RbW/tuXHxc+tSaqYyXzcAgDxQVjdSgfqzo7dXW1iqst93QsP4rECGT0NDQPDs7u6Nq6mqP
ZTU4Cg1juJqamnewq1taWprVpcuXukygKioq/qmurv5IeC5YE8jLz+uy+z9v3rwvExISckCcb6BI
U+8LNoxaWFiuHzt2rBHJzsDA0N1s3rzpc5a19Vbqx+rr66tQ3vbmzZv/MmXK5B/cPTxsPD09x5ib
mx1VU1N7LN6gJm7oXYMH/oeZqelPODQ8e/jwTh1pKAuoDYyjnhePxztBkjqdWbNm/eDk5LRNWsOs
ro7uY29v7/Q6EHaSnYGBobvZuXPH52FhYXOoQ5Y1NDSeVldXq5IscknDhoa/TJs27YfIyAibgICA
XFsOpwG85Uuy+l5TDcUaahR/qKtr/OTg4FCVnJxiv2HDhm4bLDRu7FgN8LZF5401A/B+fUlyp+Pn
57dEPHQEBd47uDdHoSbQqcP5GRgY2sBPPx39KCkpaYirq+sq6kCP/gP6v4uPj+/WeaXFwdjrqFGj
Pi4pKVGKjo528PD0zGWz2SjUF8FbftVcvFpo6HkPGTLkkaGh4c/glVfFxMTYQ9W/20d2grf7uYOj
w1HqudpY29zbtGkTLUyzZu3av1dVVXXKZE16enrbqb+PZmVltXvt2rVMNz8Ghu7i6dMnH+7ctfPj
lStWfDVs2DCl1NTUAHcP90UqKio3qKI3YMCAdx7u7uMvXb7crY1Pe/bs/mjFiuVfh4aGaoI3GODu
7j7NxMRkD3ilN1VUVQQNZVSRkWZ4XTh/B4j7VTs7uy2+vr5pvj4+Oo2NjXIzDP/QwYOfe3t7z6GG
c7BXT3R0VBjJIiIiIoLr4eFxmPzZocD9XUq9d2jm5uad8lsMDAytwM/fPxo8qmng1e3R0dE+gnNf
KA0eTPtI0XANwKioqFE7tm/vQ3YVcPTokQ/BMzcmf3Ya06dP/yE4ONg6LCwsl8ViLdLR0Tk5ePDg
+/369ZM4V2mGQo1zd8B13AGveq+bm1sVFFDeRcXF/V++fEm7JnlgXt28f4BgzhEf1u7o5Lj94IED
EucL15JtaWnZRP7sUApHFPqL11oGDRrUNGXKFDWShYGBoSsBT3Ms9YOkGn6suGKKnb39lqysLKmx
zOrqalMnJ6dr5M9OYcmSJQPNzMwuDhkypFVhDzTMB6L3RlVV9Q6I/F57e/vqoKAg75SUFJWjR47I
bUPagQP7Pxo3bhzX2sZ6H7VdAc2GbXO1trZWav9ouL4qqHF0inCfOXvmr8YmxhKTaTm7uIwlWRgY
GLqSGTNmcMQXjB08ZMh9Y2Pjn8Hjqwahs1qzdo1MjzQkNGQMh8O5T/7sFDIzM1Op5yfNsMEOvMDX
4FFf1dfX3+Ll5VUdHR3tnQxCvW3bVoXo8VBRUWEYGhpSj71dqNeGoRI2m/3T9Om1OiQrjQ0bNnxo
YWFxzcjIqFOEG4H7OZx6Tmjwe49+OnpUYWd4ZGBQWN69e9fH3Nz8BPWDBC980d59+1qcJOn333/7
lMViXQOh3E42dQrx8fGF1PMTmoqKyms1dfVzUHBs8fHxKY6IiLDPzMrqf/rMabkLfbQGPz+/BvEa
BVzjk9CQkJnlFRUyGwKLioqC0Du3tbU9TzZ1OKWlpX/V09OTmFs7JiY6gWRhYGDoSsLDw/2o1XLs
ehYSGmrV1NT0AckilfLy8kjcj8fjzSCbOoWc3Nx8qmCgYew3OSmJO3LEiP9g4UOyKjQjR47069ev
3zvqdcbGxs39448/PiFZJKirq/ve0NBQMH9MQGDAKLK5U4iJjR0uPkjJzMz8wvHjxz8lWRgYGLqK
o0eO9AFvbT/1gwRP7+7QoUNTduzYLnUlmrLy8s8tLS3PY17IF0A2dwqenp7O1HND09PV7bSwQHfx
9OmTPnZ2tqup1wmF6MuwsLDs5StWfE2yiVjf0PC9p5fXEcwHtZ6njY2NA0lSp3D48KG/itfOMIyT
kpIaSbIwMDB0JcXFxWqaYqu5gPf3ks1mb02IT/Cvqqr6fuPGjYJugFevXv0cqvWzsaoMgvG8sXHD
XwUH6SSwYZR6XmhaWlo9TriRuXPnDoQC8Rr1WnF4O4vFOhkWHp4TGxtjNGXy5EFTp07VdHVzO4Ie
cN++fd9hrxJyiE6lrKzcdZDSIFqtwMTE5PzKlSs/J1kYGBi6kqKiIl8QxKfUjxJt8ODBOFryIp/P
32NmZlbu4eGxQjj8OSAgYBrZvdM4dOiQoXjfbAyV3Lx5o0c2jJWWluhYWVldEY93o3eLE2BBAXtT
R0fnHqaj4aRPJ0/+IjVcVFhQMCAlJcWC/NkhQKFNqxXgOSQkJOSTZAYGhq5m4sSJIXp6ehKiIc0g
39MlS5Z2avUcwRCCmpqaxO8vXbq0xw63Li0tHejo6NigpKT0Rvy6qQbe+fFZs2bJbLiMi4sLg1rT
IfJnh4DdMw0MDGi1MyhIHq5dt47p183A0F3k5AwfCF7cclU1tSeyBBy7ECYlJXVJ9RyxsLB4IH4O
YWFhbiS5R7J3z54v4Rp9WCzWviFDhkhMiAW1oHtjx43VJdmlgj1yTExMOjyslJaWFga1HlrIxMnZ
efnatWubbdBmYGDoRO7evdunqKjYOjgkeAp41s+pHyiKua+v7/bDhw91WW8OEG7a7IRorq6uI0hy
j2bf3r1fenp66kZGRu4SXjuKZmpqajjJIhO+A38e1lbInx3Gs2dP+2CIhvo8MHyWkJgYRLIwMDB0
BwsWLPhHQGBAqdJgpZeiDxREG6rJ28dPGN+lEwzZ23Np05qice3tV5HkHs+7d+8+cHJyEvTiQbPn
cje2NFR/165d/zA2Nn5oZGT0nGzqUEpLS/9pampKa0jV1NS8WzmxUp1kYWBg6CrWrl3zT19fHxf4
4PdQ5wLBHgxmZmbbA/z9ZYp2eES4QVxcnD75s8PIyspOpAoEmrm5eacOtZcnlq9YrjNg4H+XUcNn
Mnr0aDOSJJXff//tg+CgoDFYO7K1tdtCNnc42dnZNkOUhzyjPhcLS8vD69at+45k6RA2b970ITgS
32dmZbIsLS15iQkJ2YmJiWWZmZllLi4ufgnx8byikSMH5efl/ZnswsDQsxk1avR3PB53UGBgINfb
26sMvKhfoCr+Py8bTElJ6a23l9eK0rIyif7EVKD6vNHM3LyQ/NlhbGjcoCE+NH/IkCFN+/fv6xVD
rmNiokXD/uH5XCSbZQIC5wTP7CUKd3JKcoshlfaQmJSYjTNHCs8Pf5PP5y+bP3/BZyTLe3H48KEP
p9bUKCUlJcXa2nIWamtrX8B+7eLrgP7ww484CRraDX09/XXwDsbWTpumdPv2bSbeztBzAY9lLgj1
DWVlZdoHgYYj+UxMTM4mJyfHNDSsb7ZqvnzFir/r6eq+tLGx6XDhRkCwJBooCwoKenQDpRAOhzNR
eM3Ozs7LyGaplJaWfQvP7C7mZbFY90+dOtmp/ezBu+/j5OQ0gTr6Fv8P5zlr5owZbRZvrPGlpaW5
gAAvALG+jl0/hcdtjeFv6+nrX4+JjS2dVjuNmUuFoWfiH+CfR33x0bNVVVW9Dh/9NvDCo+fMmd2q
ai94RsW4f0xMTCLZ1KHw+Lxl1PNE8/DwmEiSezS+vj6ixQysrKxEBeOdO3c+gNrIl+PHjRuUlJw0
aO7cud+7ubkJ7hN6vtnZ2Tkka6cCtbY+ISEh26lD4vE9AkFfPnPmzB9INpmUlJR8VDii0NCBz8/G
Gh/WFoTHoRoeH5yJN6qqKq81NTVfw3v6Gv/GaxXPi79vbmGxZ8qUyZbkZxgYeg7r16/XGzJkiKiq
iyGIqqoql0uXL7W618iMGdO/NTIyeti3X98m+FA0yOYOJS09XSLObW1tfZwk92i8vb1pwg1i+GFm
5jBDf3//KQb6+oc11NVvwHO7oa6ufgEHTJF8948ePdKp3jaV9evXfQ0FKU288f/WNjbnIyMjXRYs
WCiapfHkyV8+3Llzxz9zc/MMMbQB7846DU3NR9R90bALJIjzE0g/DoXAguDgoGG+Pr68wKBAU6gF
msLfpnBveO4e7qPBO98/aNDAt9T90fQN9O/Ex8cz4s3Q84APbhP1ZXdzcz+MoQ+S3Cxnz539zMnR
UeDlgVhcIJs7nE2bNv6goqJC6zuMsc3Fixb9jWTpsTg4OMwQXjObzV6LYQQQadGq79IsPCK82Umn
MrOyvOrm13VoKGFhff3XPj4+O6hhEzSlQUovzczMDhsbG5fCOwLGWmBoaPgLXoN4XhRreM73oFDe
FhQUlBkVFaV75MiRFnsxVU6c+BXk9zU3Nz8nXgCAd35n3LhxHTqClIGh26moqIBvSF3UOwA/HhCH
PSWlJYNIFqlcuXLls+SU5JnY0wE/lszMzE6tmsNHv4f6QaIlJyV1auObPBAaGpopvF5cfUZaaIBq
2IC3ctXKZp8dl8vdDp7ocPJnh7Fzx3b0vGcPHDSQVsg2Z3g9UGN4amZqeiA+IaEkMjJCFRyC9xon
MGvWrO/h3Z09cCD9980tzM/X1tYyMW+GngVUPYeL9w4wMDC4Bt5eTEFBwXdbt275kGQVMH369L9D
VX0mCgnmNzU1PXHgwP5OrZpDlTtdeH5CA5HYSJJ7LFVVVRbiIyfx+QweMvipjo7OeQsLi/NQ+xA1
3tqw2Q/IrjKxtbXdDs+2kfzZoezft69PXHxclpaWlmBOFep5Cw0Lejjn1xgGAU95SnZ2tvXOnTu+
IoegsX3Hjo8OHjr4jzlz5gwcO27cwA0NGwaGhIT8+dq1q7R3Usjx48f7wPtcCe8mTbzhd6aTLAwM
PYN79+718fPzraSKNxpprLxgY2OzIDgkOEtfX9/eycnJB6q6e4TVXGVl5WejRo1ik0N1Gusb1v8A
NQPa+cH5vPzp6NEeHS7Bnhvm5ub3hdesoqL6FIR3CtRwrBcuXPjd48ePvnN0dJwlTLe3t292cYu7
d+9+AAUtrhbUqYtgZGRkqHl5e0+BwuWAqpraeXiPzmtrax+Hc2/w8fHODAsLM9u8ZbPUMMibt28/
mD171qDAwKAYPp+/TldX9xcoCDCOf0NPT+8G/H+3i4vLAl9fX5/ioqLvQMRp3f8ePXrYJzgkhNag
De/py6lTp6qSLAwMPQPwmPuAV1uGQkx94amGYRFqn2ps2IyIiIgnh+h0nJ2dN1PPBy0rM6vHh0tA
oEbhtVpZWV1PTEy0IZtFBAQEiBowcUoCslkq48ePZ+NzBAHdSjZ1KkePHvlq5Mii7/Ly8r7DRkmy
WSYXLl74bOjQoZngjV9TUVF5A+/YdT093fPGxsbnNbW0sAC4Bw6GoCESw0Kamprn4ZpLJk2e/D05
xJ/gt/QhP21kJ5qXlxfjdTP0TPJyc93AIzswcKBkKz3VULRzcnMngnf0XvHI96GgsNBTPGwANYCd
JLnHsnv37kEenh4HFi1arEc20fDz9xMJN3iiMoX74cPfP+VwODtJvk5dNed9+PXXmx8kJCTMNDEx
wQbKKUFBQfzY2NiBa9as+e7Y8WPf1U6f/h0UXGrx8XF+fAeHheoa6oJwDL4T8M6eG56T43zlypUP
WCyW4BoHDx78gOqIYO+n8xfOM6v2MPRMsJUelzVDEVCDaq6aujpNxLHxJxdEu6uXDrt69WofE1NT
wXJdQgOvrGnu3Lk9vgq8adMmqTFgxMHBYabwfoDo7Seb/zR33twPx40b+13q0FRLb29v+9DQ0AL0
tlHoqqomyl1Pi/Xr1w0Bsd6YnpbWqmli0zPS1cCLXgUCLXg/NTQ0XsJ7ORrbXpSUlN4VFRX5xcTE
CMYYoKHIl5SUWJPdGRh6Jk1NTX2Ki4sxhipa3gxffn9//3lPnjxuVrSrqqoMIE+Hezepqam54o1e
4HVXkOReibeXV4HwXoBX+fL27duf5+XlOdvYWM/H2DIUvi+hhiQKc5mZmT94/fp1lxa6rWHWrFl9
9u7ZI7OAkgY2RgYGBcXB9Qk8axBswTXa2tpuxvRdu3b9oKz8v66kbm5uHd6bhoFB7qiurlYdMGCA
aDQbDqXeuLGx2XlLED6ffxXE25j82WFs2bL5r2ZmZqLGOjRdXd2HS5cu7bXdvYYOHSpamxO96ZDQ
0M3YGEe9R1TjcDgzya49huDg4DD0soXXGBgYVEaS/qSvr39UuN3V1bXXzCzJ0Ivx8PAYIXzp0TIy
MvJIkkxmzpyJYt/k6enZKSvVQPU3l3pOaPEJ8UUkuddx8uRJ+gAlGd3whBYXF5dJdpU7rl+/9sH0
6dP/kZaeZsG1t7eD2oIdOAt2SclJFrNmz/pu27atUrsBIgEBAfOE1wiF+50FCxYICnMHB4cG4XYL
C4tO7U3DwCAXmFuYNwpfenUN9XfHT5xocf6JqKioeRjOmFY7zZBs6lCWLV/+V1MzU5rXbWVl9fDo
0SPv7XXfvnXrQ6hJfJGdnTUwMjLSAo5n5+Do4F1QWFCirqFh5+/vZweerdruXbv+cf3Gdbmbfc7K
irWXej/QwAN9qqendwFE7MJ33/9PzNlstj3ZTa4AwR7o5eWFQ9hPqKurv8SwB3Y7HTBgIPb7fok9
SMBjng+FtEVZeTlNwGtraz8oLS2NEIZK0Px8fQWFubaOTolwm5amJiPcDD0f8HYeCl96EIGfyGaZ
VIypUIUP7CV8fM/PXzjfaXHU8PDwCGoPEywoUlNT2+R1Hz586HMU42jAzc1tPlzfIfBcr4MJphAV
Dp9G8VBWVsaG0LvGxsYnPDzcJ4HXb7F37165WeE8Ozs7XRj7B/F6y+PzV4GXatPQ0PDd9evXLajC
nZiYmEp2kxuSk5PNcZV7FVXV+4aGhjv4fIcaKxYrW01dLZvP52/Q0tY+L+zphCKOAj5q1CjBJGjY
7zswMDARn5vwGtH09fUf7tq18296+vqFwm3wXjLCzdDzMTM1FX0ILVUzly9f/neWtfUhzMvj89aR
zZ3CoYMH+7A57F+E54YGH+XDCRMmyOxhcunypQ9nz57999CQEAs/P9/RIBQo1Hf79v3fohGtNVVV
1ZfW1jabc3JynObX1cmsvncVe/bs/qu5uflNKDQfJCUlxR85fFhUaJ47d9aSeu6enp6Vu3fv+nDr
tm3fenh4DLCwsBwwc+bMb/ft3dst17GhcYMq1HAuu7m6zgkIDFA7ceKERIE/f/7870PDwvzhGo9j
gY2FlLW19bm5c+ealZeX2whF28DQ4DwUsqIl90pKStKgUF4s/Bv2YYSboecDHqbogzc1M9u/YUPD
38FL1Xdzc7UFobTV0tK2dXJyso2KitIH77wOPyjsvVBWVuZJDtFp5OXlseEjpY2m1NHROVRUVMTZ
f2D/5yOLij5as2b138Ghxm5jXvAB12lpaZ2Q2XAH5w5e9rtBgwa9AQF8Ax74G11d3Tcg0m/A634r
9GiphoLh4MCvXrhw4bfktLqNnJxcD6h1SKyQ8+DBg79irxLhOYN4XYVnVqevb4Be7HUouK5jGCIo
KKhuypQpnb56vzg5uTnR4HGHv3jxosUa2pw5c76GRzmnX79+guduYmJyDhwKQb9tljXrZnlF+fdQ
MNUJrxXe0UcYdhH+7e7uvpwcioGh5wIfuch7wRCIsbHRCRCyRziFKAo0GsYVQQwfCUMX9vb2J3FR
WXKITiU8PHyeeGMciNQjqCYfMjU13aWhoXkC/r4rbVJ+FGkUaBD7CzZsm0Yul1sGIh9na2trjlV3
qIqbFxQUmAcHB5tHRET420M6VOMPwvXSRpdiSAU8xkNLly41J6cld5iYGF+inrM0w4IJCt9rk6dM
7tLr+Pnnn9rUBRDnQ+HxeLXCghTfuwEDBrwrKy/3wHRwGpzEr01ogYFBBYKDMDD0ZCwsLSQavZoz
9ITGjx8fSHbvdNauXfu1jY3NDWnnIm74oYM3/RaE+gaIc6OLq2tcYmKi+eLFi0XDpVsCJ0OCfdh8
B/5qOBZtFXw2h32ndto0qaMbuxsPT0/R9LAtGYj3nWHDhnV7DaI5Zs+e/VdLS8ubwnOGd0DU/nL2
3Nm/CucmRxMI/Hf//f/48ROcSDYGhp6Lm7sbfZV1+Ah+/PHHd+DFvgEv+833P/xAC1WYmplu6eoR
lcOHD9c3Nze/LmxMpBp4Y+80NDWf6unrHfLx8akJCwtzqKmpaXba09aAozgTEhLcoapOKzSMTYyP
TZo86T8km9wwdepUc+qMeVjAYihIS0vrDd4j6jWgubi6HNy9e1e71o7sbGJjYqOF5wuFzdVHjx6K
BnyBqIuuxdzCYjPHllPm5OR06MqVK122wAQDQ7cxYcIEi/4D+r8DD+aZoaHhITt7+3IMG7i6uJh7
eniYgxiuF34g6Nnk5OR2emxbGlOmTlWKi48v5/P5jSBIjWw2u9HD02Oar6+vf1p6mj423pGsUikt
Lf0wPz9PDargtmlpaaNwYicQ5lHe3t5e4GHrrVy5UmoPkvkL5usbGRkdFt4DNHt7+yW//fZA7ubE
cHJ2WosibWdnd8LP39+/qKjIHO6NeWRUVI6KigqtAMLwQ3h4eBEUwnLX9fHwoUOfRUVFOsIz2ikM
l2DPn+rqah7JgnOOi64FBFuw5Nu9e/cY0WboPYBwVQwdOpS9adMmiRcfPJsDwg/EyNjo+YWLF7rU
224vBw7s/1tubk4keM5r1NTU7mAVG8VAKAg4twfG9E1MjA+GhoZmrF69WqLxrq6uTgPEW1Rtx3h6
RkaG3M1aOGXKFCUXF9cKuIZ/kU0iYmJi9HV0dGiLMmMjLhTcfJJFLhg2bNh3UCBvGjhwoEQDMxSy
lSQbLrIs2h4bF8vEtRkYhIAH86mmpqboA7G1s9tHkhSCBQvmm8IHvgtqEm919fR+AS9tsT3Xfnhk
ZORwEIHhrq6u00CQd4GA3Uchx4ZYrJJnZmYGbt68ieaJgvfqQQ1FWFpZ3QEvXaFmoiseNSpgwIAB
tLg9FGhnly5bJhehHyh4sNvgWTwvrDnAu3fBjDLpGDgRggm2fv/9tw+gEBJdQ0hoqLPgAAwMDH/6
008//WRM7dGBswniqMKDBw/+vbi4GPsGD5g8ZfJHJLvc4e7u/hOPz1+Tnp7usHHTRqnzr+AkRiEh
wepQLZ+moqIi8EiVlJRexsXFVZ05e0YkzCdOHP+Mz+f/JLwXKPRQAISRZIUhJCSkSrytAO7TEmr8
uDtYtWrVf8zNzQ/i+QxSGvTOw8OjauLEiT9kZmUFCc8TJ9jCvI0bG7W///6/PZzwWrZs3twpI3gZ
GBSSA/v3WQk/GjR9ff1joWGh8/T09I6rqqpeA4/oGpvN3pmWNjTg7t27cud9hoWF6V+/fq3VoZ3c
3FxzSyvLE3itOLISxLsWCqcPQPj/A975RvC4RaNM0VhWrANkV4UBw2Hg1dJi9nitqampaSRLl4Or
9vj7+88lDeNN0THR1Q8ePBA8t8mTJ4veQQxRXb506e/hEeFhwm0g5s9xlkvBgRgYGARV0h+FU4Wi
YYOW8P9Uw3gkeHK1+/buVajQgTRSUlL+ZWpquhuvC4S6CUQ7XegJ4rBy7HEjvG6Ml69cubIf2VVh
yC/I14BClxYy0dbWxni3KcnSpVRUVFiDKAti2i6uroe3bdsqEuLy8nKa88DhcI6ZmJhcEf5tY2Oz
nmRlYGAQAh7Nb9QPR5ZhI19kZGTt0mXL5K6XQluZPn26EtQuBI2R6urqgrAIiPTz2NjYWl9f3+nU
646KigoluykUGRkZucLRiUJjsazOLqxf2OXxbncP9x34+1BQvli0aBFtAYi0tLRQ6jmKW2JiYhLJ
ysDAIITDYS+nfigoYiBmb9GEPTOEhiMsY+Pi/MmucsGcuXM/HDV6VP+goCC2s7OzR0FhQbGamho7
NDTErG5+3X8uXLwgtaDJGDYsEAsj4TWDQCfi9sqJE/9KbbC1s7MT9XRQJG7evNHHw8NjrfA6hIYr
62/ZsrnLak4rVizvr6ysLPhtTy9PiflvXFxcSmnnSAbaoA0ZMuTF9u3bfyRZGRgYhGRlZXkJG7O0
tLR+8/HxqYiOirLAqVFDQkPqoIpLq3Lr6urenjp1arf3Uvj9998+zcrOduByuasxHg8mCvVgHBXn
INHW1j6HMfsxFRW6586fEwn45s2b/wbXFw/pgvwo3KNGjeKS5D/Z2tqKGinh+Ao7qdGkSZP+ZWVl
JermiIb3xsfbu3bNmjVdMjgnJCQkFX8X37FRo0fbkc0iOByOqDsqGpdrv47H4+0Cx+G5m5tbp050
xsCgsOAsfWZmZqf09fV3V1dX0+a4wIWEA4MCEzEWTP24AgIC5pIs3cLMGTM+hY+6Vk9P77m2js5F
ENpNcA0VxsbGOSamJhWmpqab4MO/KRRyyPcQBCTt0uXLn06eMuU/jk5OO7HBjnpNjo6OG8jhcfUf
0RqQIO4KPRsd1EZswXOlFb5Y03B3d984NG2o7p07dzpVwKHGshJ/08DA4MX9+/dpjYzz5s39GzgL
ovNCcR87dqzlw4e/9ykpKeEUFBRokKwMDAziVE+axBk+fLjEoA7k3bt3n/j7+88XflxoIAQvYR8d
kqXLSUlJCWGz2ZtDQoIdly5dKnVhiMLCQiU/f/9cVRVVgcf5/9s716CmryyAJ9/4VvaT2i8820TI
owIJIbz+gSSQ8lCQl0FJwitAAkkQLNhAAOPqdldxxxFlRFnQrjh1S6XW3XWCG7odBpwtVGdK0ZWC
7Qd1HElXtwsftsve8+//nwnoup2pPJqe38yZkHvPzdyE5Nxz7z33XBh8KisqThMP+s8Q3QARDMTb
+xvMMqCeGPrFa9eu/QLaqpQqb/5nHo/3k08jWmOqaVk5UIEIBIJvyCA1XlRU6NQWa/OMRqPywIED
SjKIRcTESELJ/zmUfC/iiQFV1prNysKCAiWloJSRkQLl3oa9DTar1anT650FBQVO0sZJBlBnZmYm
/dxsNjvLy8vKyaBJbzTKZLLprq6u0NOne7ypZxsaG5t9+yOXyxce3L8fwFQjCPJjuDAwsCkxMXHZ
Jib5cY5AmBejsqa0trZuunnz5g86/tze1iZlkxmFh4d7MyJWV1efuH59+JWcnBzv7SpNTU30RmR2
VrbXcIv94MaVx48fBxQUFp75X1FDIOCFk8ELlsIgfPBhUFDQPeIB3yPvfzGKlIlEIvoyCvgMYbnl
ea+xUmAJit0ngXYikfBeSkrKUH19ffnIxx+/mp6eTh/GYUWr1eLSCIK8TN6221t9NyvBgyXT2hSm
ekNz8OBBqW94HJm+T83NzdGeXW9vr5Q1RMRjpDciU1NSvRtmxEP/C5T91BlxuwPj4+NPwEyDfW/r
JfDdUSgUt31DUeF/0OpofWYNHEGQH8Gdv98JJD+2ZV53RmbGyN2Zu4zGxobMEH7J9lupVNJHq1nI
bIIuT0pKosuzt2//E6urUqk6aSU/4OyZMwFwUbNQJJxhN6Q3ipDPfmphYQGXSRDkZWOsMrb6/thg
+utwOBRM9YZlcXGRc+WjK9tef+37i2ghrLG7u9t7sCZWJqOjSJRKFX3kmhgR7wGQxsZ9FlrJj2hu
bgrSG/QtyRT1qUgkmg8LC/uP72xqrQW8bZPJVMJ0D0GQl0lvb2/gG9u+38xjhRi5kSdP/rFhPaWB
gYuvGo3GjtjY2Jts3DZIWVmZlVHhyOVyN5RJpdIlvV6/k42igQ29EfeImFHzO76cnX2lef9+kUGv
zy4vL7NHR0fbDQaDa9euXa6cnBxXenq66803Na7s7GxXbm6ui8xaXFqt1qXT6Vzk84P6nuDgYPvr
PB548Xby3bALhUI7n8+3k8/OTl7n0p49e1x5efmuNLXaFRMT87lAEPmvlYNEVlbW1O07t9HbRpDV
QqfXd/n+6GCd0m63b8jThcc6O+XqtLTp522maTSaDxg1uJeTNtwgMItg/1aqVF8yKshL4LPPJjdV
VlRIi4uLfyMWi+nlGth7OHz4sJRRQRBkNRgaGuJFRkYusMYNRBYnm56cmKBD6TYKJ092xREP+gH0
DzLNxUgkM8T7+5Ttc2pq6hyjyomKihpjy32F6GMe6FXi0KFDQcQjf9dms1UyRQiCrCa+B1RAYOpb
WVn5K6Z63Tl3/tyWxMTEaehbeHgYJDY60dffHzQ19XkgG88sl8uXGHUORVHegUggEMxD3hLyuDA4
OIjHrVeRb7/9Jy6PIMha0dl5lBcREbHM646MFCx0tHfEMSrrhsczzykoLOiDPsFUfPfu3We//vor
r4GAeGSoI/2nDffMzN0Q2Kxk30d9ff0hi9WqrrNYGukGCIIg/gIYRNbYsSKXx00fPXp0C6OyLnR3
dytCQ0PpQSU9PX0K4peZKs7Tp08CWCMNESZQtndv/Q62/3BA5eLFi8m0MoIgiL8xPDzMi46OfiYl
rEajGes9e3bdjHd+fj4dgw2bjO/8+p1lBzouXXpPxkY08Pn8pdJSQ252VvYA23eFQuH593ff4fQd
QRD/pby83OgbYgcChhHuDiSeb9ytW7cYzbXhxo0bIcQg0962Wq1+5v5Mk9ls9e0rGHfSf++SD5lF
9DKqCIIg/smjR48CiId71dcYsiIUCR+UlJS0O53OkMuXLzMtVpc6i8VrmOvq6oxMsZeMjAzviciV
ArHb754/j8skCIL4P/3n+jfHyeNGn2cMYc1YIBTOEe+3r7auzmCz2baNjY2FmEwm7ujoKBdONP4/
QOfhwwfcL6a/4H7yyV+5g4OD3J6eHu6RI0e4p7pPcX9/4QJ3fHyM6/F4uFlZWXQKUR6PvzQxMRnM
vASNy+UKhkgRtm8wM/BNuqRSqfwiJwmCIMgPoqKyYnNCQsLoyhNxvgJLKsRweiDNp1Qide/cudMt
i5P9ViwWt5O27RqNhhaKotpjY6XtQqGwPSwsrF2dlva7Ep3OXVRURLfJzMx0q9Uqt0KhcKtUSjdp
487Ly3MTz/+D8PBw+qg6qVvq6+vb8vTpE6aHHE5ubq434x9IYmKip7CwsE4mi52ACJP9+99GbxtB
kJ8Xncc6NxPjepU9Lr6eAoNEdHT0tNVmbSMGPOAP77/PJwOEx1entLT0JNPvQIfDoaPfBIIgyM+N
69eHA8xms0Uikcy+KPfzWgmkME1KSjq13SfbHwgsmQwNDfGZbiMIgiDHjx8PNhgMjpiYmMmIrVuX
HdRZa4E8Jb55n0GqqqoxegRBEOR5XL36UeDu4mKZTqdzpKWpB6OioiZFYtFsSEjIrFgsXoD7BoUi
IXjAS3DZLzzCLSxwupHUw+XFcOfjEmlH38xCPHlayIBAP4dy0IN2cDsLe5z9RZKcnHz/wysfbma6
iCAIgryI+fnHgX39fcGpqanB+/btk1mtNqqisoLS6UoorVZLP5aVlVFV1VWU2WymbDYb1dDQSDU3
N1MtLS1UR0cH5XQepNra2ii73U699VYTVVtbSxHvnsrPz6Pk8niqxmRyJCQkDJKBYNmaNgh/K3+B
tMNbVhAEQTYi1TU1b+zYkfNHNk0rHIMvKSl5JrYbQRAE2UCMj48FWCyWYxKJxEM8+iqmGEEQZAUc
zn8BlzNQzhbW/C0AAAAASUVORK5CYII=</Image>
        <Image id="Profile.Org.Kanton" row="0" column="0" columnspan="0" label="Profile.Org.Kanton" locked="False" readonly="False" visible="True">iVBORw0KGgoAAAANSUhEUgAAAEcAAABHCAYAAABVsFofAAAAAXNSR0IArs4c6QAAAARnQU1BAACx
jwv8YQUAAAAJcEhZcwAALiIAAC4iAari3ZIAAAAZdEVYdFNvZnR3YXJlAEFkb2JlIEltYWdlUmVh
ZHlxyWU8AAAB/klEQVR4Xu3YO0rEUBiG4ekEQWysXIGFK7B0D4rlgCsQG8Emgr3LEAvBRqZM5wrc
gM0g2Fgp2hznk/wQJsmQy7n8l3PgtRm1ePgwx8xWx+VaK1e1fpCr4+ye37ir+4Ury9J08/m8ibN3
++j2n5bu9fPXWT5FUXTjHDy/u8Xyu/pWe2cjDmV1Qb1wsKCXj5/qR+ycXjiUNaBBONYWNAiHsgI0
CgcLsvBHehQOpf0xPwlH+4Im4VBaF+QFR+uCvOAgAD28fVW/VsfxhoO0LcgrDtK0IO84SMuCguAg
DQsKhoOkLygoDgKQ1HtQcBxK4oKi4UhcUDQcStKCouNgQVLeB0XHoSQAJcORsKBkOBRnoOQ4nC+K
yXEojo95NjgcF8QGh+K0IHY4nBbEDgcBiMPrDpY4iMOC2OKg1AtijYNSLog9DgJQiqeYCBwq9oJE
4cRekCgcKtaCROJgQTH+mxeJQ4UGEo0TekGicahQQCpwQl0UVeBQvh/zqnB8L0gVDuVrQSpxfC1I
JQ4C0NTXHWpx0NQFqcZBUxakHgeNXZAJHDRmQWZw0NAFmcJBAOp7DzKHQ/VZkFmcPgsyi0NtWpB5
HCyo632QeRyqDSjjVLUtKOOsVQfKOGvVL4oZpyM85jNOR1jQycV1E2f7+NTtnF2ab+vwqImTa/SP
gy+5RrO7P4VFVbHpqMMHAAAAAElFTkSuQmCC</Image>
        <Image id="Profile.Org.Logo" row="0" column="0" columnspan="0" label="Profile.Org.Logo" locked="False" readonly="False" visible="True">iVBORw0KGgoAAAANSUhEUgAAAIQAAACyCAYAAACDZ2cXAAAAAXNSR0IArs4c6QAAAARnQU1BAACx
jwv8YQUAAAAJcEhZcwAADsIAAA7CARUoSoAAAAAadEVYdFNvZnR3YXJlAFBhaW50Lk5FVCB2My41
LjExR/NCNwAAUlBJREFUeF7tnQV4leX7x9kGgokBWAhICBJSkhICozZGjdzo2shRo2t0SksjjXQJ
CNKgSChISgmIIp3S4f/zfX7vOf8dWJxtZxOB+7reazvPW0/c9/f+3s/7RLwnVby9vavnzZt3eMWK
FcsFBQWlXrlyZcqQkJCUjRo1+rRs2bJlChcuHJgnT57e2bNn/ypHjhxrsmTJsi9jxowXPv74438+
+OCDf95//337kTx58n84p+ME163iuX19fX2Lff311/Gt1z2XJ1l+//33BJ988slvoRr1YajDobFj
cqA8ZwsVKtRvwIABSa1XP5cnUWrWrJkhZcqUD9RoqVOnvhe6EVOkSPFPpkyZrqEwu0GGBaDEANCi
SalSpcoGBAQUql69epqJEyemWb9+fZpt27alWbBgQZpWrVqlIf0zrqvJ9SO5f29oFEExzoMYvtbr
n8uTJg0aNCithkqbNu0/7dq1S4uCFKxWrZpn/fr1P1m4cGGySpUqedSpU8e9Y8eOblu3bo33xRdf
xDt06JB1d/jSo0ePeNOnT483a9as+P369avi6el50KYUKOD9fPny9cVVeQ4ZMiTtrVu33K3bnsu/
LT4+PgGW5f4TGBiYxEqOVG7evOmO8mQuWrRo1QwZMvh//vnn/n5+fsVQprLwhgGffvrp+syZM/+e
Ll26u/CK+6DEYy6I9Ic6x/2XQKAtIMrgcuXKVRozZsxb1mueS1wKjVf9ww8/vKPGyZo1685Ro0Yl
s05FKG3bts2AG9lOI9/nXjvnoHEfqJH1PNuBov0NudzJsYRjpo706dPP4f4tnDvM/w5uSvenSZPm
Vq5cuZbiWQpZr3wusS24igJU/HU1QrZs2Ta0aNHiNTiAdTZiwZq/1n1wjttEHtNz5szZhgZugoX3
59xKUOGyzvP3Ro0aNeqgeMbtoEhuwcHBbqCAG67IvUKFCvHhIi+CTNmLFCkSwL3TiE7O2pRDCgfK
/ET6lNy5c/eGlLYCkaAo1QuOHDnyOTmNifTu3TsJDbYaOF9II25AGQwyQPr29+rV613rskjlxIkT
CbDsM7q3WLFindq3b+/GIXIab/To0fGaN2/u3rdv38SlS5dugiv4K1WqVLerVKlS1Lo9XAGd4nXo
0MGtZcuWL9HoreAZDsihA/SwuxnO30EJT6CMs7y8vAIp3/vWo56LM0KlVXy0gnET+7p37/7xlClT
rKsiF5AkCY1hkAXimUdpNEZGoopVKMB+rHnNZ599FkT0kax169YpsPhdKOIic3MYUrdu3aLc8wsN
OxMe0gLrz71y5co3ue8PvYP0NSjgF7iWgfw/ETRbhNv5iXddkYLoGsvN3ARFRvLehNajn0tEgk9u
qcqjYq9ivS3LlClTHjhPdOrUKesK54QGSUIDXId7/FOiRIn3lDZgwAD3qlWrJqpdu3Y6GrXXRx99
pE6rP3hPblxFNtzBNHNzGILr+pAI5y9bw3LcA1VuqrFRgEOgzetCHtxFPBTFDbfjTr7jQ4ZfbNy4
sVxNa/L0nUJm3Y8rKm49+rlEJDRUY1U6lnSjWbNmSVasWGGdiZrgu99EGa6pjwJukNZKtsvYsWPd
sPJ0KMQp3NERwsqXafQXrNOPSbdu3eJ17do1Tf78+QejSOeUR0tx/2rUqFHan3/+2boybJkzZ048
3Ex8lMLwGniJp3XquUQkWGpuGtF0QMEjBgP3+Q8fPhzl+P/IkSNu+O4Deo6np2dlK9lBJk2aFA/0
aKi+Daz5Ays5XLl06ZJQxq1hw4ZvFShQYJGeDToM+/LLL60rwpbKlSu3gnd8iFK8hBs5BLLc4xnp
rNPPJSIhtnfHir5XZQOt9/l/xbFjx6yzURPgu4+e8+mnny548OCBm5XsIHCNT2jUtbw3Sj6diCMF
DXsLYtnUSgpXUMgglO5v0OSaXAzIdf37779/wzr9XCIThWs2lMCFNLeSoyydOnV6H1J3loa7Gx5E
K2LAgl84d+6cleKcwAvexHVcIa/ZrKRwhWvd4RIliZpWEaI+kCvbtWtXYuv0c4lMvL29K0kZ5P9b
tWr1iZUcZZk7d248X1/fcijEDTjJWZTC5+rVq2EiRVQFV5aXBt7BO5z6OqqudNxNQtzYHvJzh8gm
pXXquUQm+fLlC5FCALHnYO8vWcnREhTKrTwCeTyPgt0hivmG0LY2rD93+/bto22lEFVfIpYC1k+n
hfePAyX+AVlyWUnPJTLB8qZKIbCmn/G1Vmr0BTLn1qRJk/dQgg7qms6dO/cOooXJvXr1etu6JMrS
rl07j5CQEOuX84ILa6+yEXZ6W0nPJTLJnDnzClUahHKpleQSQQHkz+MT/iXs3r27x7fffmudiTvJ
mjXrAJUNt/hcIZyRH3/8UQNhjqnSYP9jrOQnUgYNGvQ2EQSBRtF6HI35vzbtXKJu3bqZFi9e/KZ1
mV1QyLdQ9oO4roe4nEjJ6DMvixYteolKHYSPNV8iCRtbWKeeKKHB0+bJk2cGRPUieb2jyEF5tv7e
pcFvEElcypQp0wmUeyth7zqO7+FEZxR2wmeOzJ49+0XrcfGqVKnyCu7si86dOzv9Wf+plrJly36G
DMJ6DlCh+lQtdNjXtm3bJ66CiC4KE26eVh75+xcNPgfOEwIn6cjfjhDikZRjDsduNT5KcBresJvj
kkJplGRXyZIlC1uPMzJp0iQP3OMOKQ6RyPMxnVIGKtigAhV3it+DmzZtmnTTpk3WFU+GdOrUKQkN
fVxoULBgwS/9/PySqTu6RYsWbn369IkXEBCg7m03rouP4rzGtfto5Llc8w7/n8ybN+/UypUrvwQh
tZ74/4IiLRTCgBalraRnV3ATjaQMKVOm/Kd27drpe/bsGetD1WiUZEQer1g/nZJixYp1VD7V89m6
desEVnK4gtJ0xT38CXrMRNFPoBjJrVMOMmrUqBdBjsN6NmFptDvinhrBstLhc++qQkqVKtVMafjp
bAUKFFg2cODAcD84RVd4X1oaa33v3r2dHgJ3+vRpN0LWnSKEvr6+n+3fv9+tQYMG2UCz1ri32TT8
JhTlGCHtcf1PNDEPnrFMXzZRhqu1atUqxzMeU/TRo0cnJi9jdZ3Kj9L5W6eeXZk/f74bFWg+FuGX
r+Fjm+NTNWbh6x9++MG6yjWyYcMGdxpwORXfatWqVVZq5BISEpIkXbp011OnTn0Zd1YY7rAwVapU
19WQUmaU4AwItxfO8JtGYgntVB4dcgVcczljxoxH4Bmref9UopKpKNBslOU3ndd13HcOl+P0IKCn
WqpXr/4xlXnRqsD7ImQgxOPONoaCb8/Ae27RqGmsJKekcePGKWgwfZi6i9JeFo9AiX8A0QJq1qyZ
Dm7wFg3+MuiRGLeXAjTZxnv+RlFuc91KcSPQxa4kjx5ELNcrVKjgt2PHDuuNz7jMmDEjHrBakgo8
ZaukwoULu3xeBOGdJ416tUaNGlH62ti9e/fX06ZNa8Zgcv/90qVLd8JlvDx16lTriv8JLiBR8eLF
pwoxUJQKKNF93F8eIqk3y5Urlxv30BaEmMn59aDFPrjDRn4PL1OmzCc86/kw/9AyfPhwjUxKToWb
oW8w7vLWKZcJllwYOFfHUBYrycjYsWMTYe1V4BdZrSQHWbZsmRsNuF75gvhtmzNnTiKljxs37lVQ
ITdcIhD+MEU8Qy4Ad7AfDjGed90mupiJAubcu3evG2V0GzRoUHyUJVFgYOAr9erVexGC667RVk+V
NGvWLCmWUZ2KGIrvX4mvXQO0ruH/JVTMAHx2BfyjU/0KWNUVVTzRh8sVgobA9ae6C1K0tZLiDRs2
7CU4yywg/S5uqoSV/Jhg5d4o6z2uu4+F7+LYTF7/oNH/tvEAuQXg/2/SL4AoN+T6xDPEN+AN46xH
uVy+++67hOTPi7oeg+taw7s30BYLCxUq1BQjc2ragkuE8Cs5kDeACviLSrnHIXIk33kGODxLxq7L
36qyST/1+eefD2nUqNE71u1hClZmhqhRgQ2sJJfJ5s2b3yJP11CAhfpNyOeGcgyn0UyD8k4vc2EY
0rdvXw9cRd3MmTPvpYEvohwX4QbHaYDVNMRIKr9epUqVcqHIH3C8zbUflC9fvhQNs0TPplyuZciW
+Pv7ZwS91gmNpHzk6U8M8SBtcELKj2GehJ+43LgeE824pjJ+VyZ46Tmg8UsqpJSPj08KiFUyCNzb
RAyqlGJA6jAy+Kd17VGu8dm5c6f1JEdRb54qEGvtYSW5TID4pLJgGmnxtGnTXiJfHanIu5TjVykz
v4N0Xf/+/V/Lly9fJ6C+oLnRki+//NINrpOYBngH1/EO7uJNLDBRx44d3cOaL7JlyxYN+c+v8tBI
061klwkNnQNDM20gQyRPO0SAyc9H1H11fm/Wu+EuA3CLLg/h7YIvboyF/E1lPuCl4/38/FL26NHD
Y9++fdYV/y9q+MGDB7vjn5NjRcNwJ3d1L6Sx1saNG62r/l9g5QsjqkCeFe3hZyVKlKiuykPpTqAE
B4VqINyeFi1aZAU5rhBOrsWfvw4fWMm5ByjF/Llz58ZoUI2Xl5ef1SjtrSSXSJs2bdRzelQKDSL1
rlixYgHyv1udXBjdX6CyQQy9m/9vce0u8lJv3rx5rlUMLF6+9AZwdIeMNA4KCrK/AAtKBGOuiAUO
JOwaAzSPolIDIU8f6jzxfHw1Ckrxt56BYlUwN4YSru+lQlCwX1atWuXAvEGdLJC/DtbPKAlEMAEo
NovKukLeHqIAf9Lw41HU93/66Sc38jxb/IC09baKVGVjaXXOnDkTbaXgneOFPkQZxawklwho1k/5
RNF6tmzZ0qNXr15SkB/VLpTxuKIYDLU0bVQFpR8rFJfrpnzfNmnSJNJBxU5JcHDwB/JRsh5IZHNQ
wd5gvOQjFGAjL71jq1Ad/H+fyj+rrt/JkyfHF+ziq2sLXWiYP7HOFNYjjKDFXtwjcnZLXcxWshHc
yGAUwk4IoyK4CCHbS8B8CirqYxr6bcpj74Im8sikL5jKM/k9TR4nUE4RwhtwhKGEj5mXL19uLy/u
JzEuMmv+/Pkrc74PDTATVJtFHttTF8YA4CivoNh/CH2oK5cNrAUlX8UFn+fZv/fr1++VJUuWuPHe
ibTNGcpXBndelPPXMd7Pv/nmm3gcr3fo0CEH+VyrukVJBlmPipnw0umqMKz46wEDBtgrU1EGcGWm
0pPJvVzXAt/qjVVUQSOHq0JQlHtU8kARubZt23qg4WZkFJmcuHXrVrsFUtgk6qjROW9vbwcEQdPX
RVchIpOlS5e6oSQVyetl8jQEZUwECe5DXjQhx/Q2YoEHOP8tir+b9JMo9VWURjPHQxuAFP0PnlUU
tPTTOfK9+PDhw9abYi40dGE1LHU7Sr+p/w9AgJu8z3vFihVuGJ0HSNyTtAu8eyP84gT/n0Jhzio/
DRs2rG4eFBMhbs5Epdzh4VeBbocPNcDiaFUGSrEODU0KIzcNvGfPnnhdunTxQDmKK3OCYIhQGZ2D
/CTnWZeo2NvAdgalSU6fPq1IY5WeR2EmW8lGsMK1QPtw66fLZeDAge6w9ryQ4k/1m1A5viw+VGOb
v6F/oyCC6DMowREhHmU0ykHl/w5POYYhPAB9ypoXuEjgbWZCEwrbSL+xeH+UdWefPn0Mgg0dOtQd
jjaUdz+kTczneup0N/k5ovzgsq8SXfXEjUafTwCNw/Vg0GGYOpFsokmzVMo1lOU2Ffmxlewg27Zt
c0N760s7yeDPM2bMeEGznVCkL/RM/OBg61Ij/K6vdGDvgnoJreR4WMSXINBvRAExGnwbkezduzce
xMuOWCiwp/KiAwU+QyOUIUhqyl8/lL8oKJYBi30XRHgTF/IO4aafOJLtHpR6Ne7FpUQO99tPz6bR
K+k3rqopqDbBnERQwPJqDxC5B3WVhf//IV+VUPa3yGNF6nUPinEfpRhz8uTJqPeQEj3ER7uk/f/A
bh1686iQvLIUooNNFDxc8tWtW7cXRHTkl8mwmWldvXr1zHIlaPcxXIW90njH20IiPVexv5WsULey
7qcxalpJsS64t3fIyw01ABV7CwKXYffu3fGoSOsKR5FLFEHV9aozQlc7+rlKcLed9HwUwSgEbVCF
xjVTyE6dOuUGgqzCgGdQ5/GFerTNTvK0gRD4hbVr18aD5KdAKS6r7qnTqKMXD8gh6wZ2Ds6fP9/D
SjZCuOOtzBFSzraSwhWsKFjXklnTV6v+exDjkKANv5bJXISsWbMmHgWYpmtRop0qmNJ79uz5Jmh0
SRqOj3eYbQU6pa5Tp46P9dNlAiFzw/pWKy86+H8JcX6ECEX52qPkWyGi+bVskasFQt9QecFVmGGG
RBjvwxkMQhD1JcBdncLojNuTYHjFcc1X5YI7d+78Fvc3EEKQdgXUyG1d5rygfYHKAJA9yUqyi/yt
rJZzpvcvIiGiSG8hwm5Yv4EqMjlOz0ah7EggIaMFlGkO+WDTpaxpfVjFEr0PKLfPi2jUqFFK3v8j
93xmJblUhGhEG7eUTwzjAe9aSWOHa/la9qhq1aqJnV3cJKqCqyqrvGA0nfV74cKFIurm+wwEM6F6
e1evXm0ft6nJzeoOQFFOg1r7UIRTMnBcT+PQhN5pAYKMrweqmlhJdoGdvwyZOs9xEn9vPvqEJ99+
+607HOA0EHwTTTYjllC2Jnq23mEusgT0iA/UmZ42Cr5UhVI6heigNPnHWrVqZeB3AAU9xDWLqJRY
GZOIH3bHdXVSV7DeLVdGGf5CmXtCmNPfv38/6pUaA4E75FQ+QKsRVlI88mD+ytBA1R2LFy92GAAE
b3MDzT/CoMzcWZRmb+vWraPHbWhEEyIS8oXZ149P/0Ia5+Xl1W7Tpk0RVg6NvE4VSmaMhaG5xfVs
UGO+uSCUQN6qCA1EkHBbxgJAkpq6nsbR+g8XLcTZyHMi/EYSUxkyZMgLvMOPivxV+Vce+PsAazsL
OZ5N2b3x169al8eq4Paz6P1ENybsfFRwJe0qV6782MwyzWAXwupe2ixaHXxGKLDxoUBzmNPXsPYk
NPQBGuhv/FMHQs1wO2HIkOEG+HvjBvibQ2SV9B/NBaEEX50IjmHGG2INpvAUJJhG0GosD0CG3wgL
+5KvOPmiN2zYMDdcxTuUMRDF2Ew0cVt5k4JQhpuCY/LTE5+dfePGjbE2ghpLz673Ut9hKgQu62Vc
x2Ojr0JCQjwwnr9kvNS7nWNEWWjstcoACBHuuga8IEO2bNm2qK9BMTmwNZtGGzBz5kyHxsL/jtKz
gHpDAEGKzNzzgIyGueqGtF3X88xzkMvEfn5+b8Gqc2GtORXm9evXz4HkxoV89dVXbiDWq/CYPLjR
weRNk3jNF1OhBoqiJQzXQPRqarS2dZvLBOSsrHfhsoZYSU7JiBEj3iaf+hB2B4WNfujOA4xC4LMf
W43FJsePH5dSvIH11EeBlgLlgvoHo0ePdqgQuIJRCCrMdFARLWRVJsNTCHhBchTLjC0g3i9nJUco
9+7dizMlweo03V8jokrCY8aCWmaovspIHcg4DhcsWLCXqxYJadKkyVug5mZZOa6jopXslJCHPMoX
dR29RTdsAjz+pAfReOEqhE02b97sLi6hDKMYhyBkDtBJ2ng9y4YQsPEcVJyI40/mgkeEmF+DcA0R
Qpn6W8nhCnD5AQSwsfUzzmTbtm3qP4lfpUqV90BSPxkFimy64FGQBxjVadBkCFGZw7cbZ2XcuHEJ
QMvSNOZ21S0Gtahr165RWuiEsL+c8gOSf2clRU8onJlvOXTo0HAVgpAyLS8KpNFmYvE3ZSUoRtO/
/vrLuuJ/gitZpmfhZ83XPyrQ9GOg9cvMBWEI/GGBruGvPbT9+eef3Xft2vUYEuTLl28oKOUQwsa1
zJs3T/XxIoqRFU4xHGVQmCfF0HiQ4zRsE+DbHhZGJFznQR2VwD2sxLXqK/FdON1k0DLKH8tAqqaq
R54VJvdwWijQST1oxYoVqa2kx4QKyCCIVMHTpk37Nw3TD//5mAaj4Xt0TXBwcHr91kgjPRtu4fDd
wiaEUS+DUIZY8szxVrIW4Xif0DNk3bp1dqWYPHnyixC7U8BqDivpXxeNtILrpAYdtPKdGQ1GPd0B
ERc0btw43M/QlFsLo+XBGOegBNe55z71sAXXVJ66jjC8D08wqCF6P8Q8ZhOCsN47igQmTZoUbka2
bNmS0PrQcx1kyAF8Pja7afny5S+hXNfwq7fhBiZEo2JMv7y6Y81FoYRnJEWrR8myqJB7uBd72Ltk
yRL1U5yuWbNmRitJ4yU+QSEe4CtjNQSNjnTu3NmjRo0aWdVfQlnM8srk/5ewvv9QjpSgwCjIqSYU
q4d4X+HChf3gcK//+ONjwZhTsmfPHrne7/TeatWq5bSSoy7nz593o6EffPzxx3f8/f0jJGu4g9uZ
MmVSg4SpOBTU9GrSaHsWLFhgnoUvNOtBAPMO4/5o6AIo12Gu14qwd0GDIfLR1mkjKOo54Nc+9pJr
SqFwWlXuiVMImzRv3vwV8tkFt2p6Pmns/YSyqXQONHmBeqhHuY+q4UCGy1hzn4CAgHeorxh1fvXs
2TMp7Xiduj89duzYSKcihisTJkz4QJmDPZ8g7IswUzTQbV6oaCRMhUDLm6kScA9mkdCjR496oEDm
o1mrVq0c+Amw+D4FMHMhUMYTVKQDGcNlJNFXRVxOsJWkIXKl5I5QiKj3z8ehgBbxqYvGKIXp+cSn
r6O8H/N3NnWhoW8iftvhCQUoZ4z7MyD66hHurHeBPCOt5OgJ/q+UHoTvXxvREj9Lly59SwVEcS41
a9YszC5REMRM2aPhjFW3bt36IyrgHg1+unfv3g5KtH79evVBdBGiSCFRtN0UpjkFK4h7UfzfTek8
yx5R4FKyCI65pquV9MSKlAKkGEj5TN8F9XZa5aEO7+njHyF8sui6h0cFLpIb5LyijjQUL9oLuRlR
qKRGxPcNtJLCFJhwIRUIlNi1Zs2ax76xDx8+/FUypeHr91EEQ069vb0NocQaloS1GmyHDh1ehKWP
RmnMuhGW+xDBusL/WiZYM8bt6y0QBb0I3J4SCe3Tp0+cdCM7I8OGDXvF19e3zqNDAsWj8OvbVDYd
hKk3UZKmhM4uWQv78uXL+kiYF2M+oefjfkZSz9F3PSEhIQmB9N/1MApU0koOU2g4rfOgT9thLu1a
tmzZclIYKuDn8ePHG/6A65ihe6iEcIfFYUkvggL1aORfbBBrO1CwS0QyDuGXIFGowjNbWkn/ugwZ
MsQDIteYKGm7j4+Pw2BbUK0YSm7KBYGePWrUqAh5mrMyY8aM+IS9/hB4s0Y36Ly+ZcuW9sFG0RIq
tZasUH5+4MCBj8XNWPobFCgd4dNbvPi0GgKNLGKddhD8o2l8EMfAOSQpIa7iT6z9YaNGjcKcQmcT
ohs3iFVSXEhBfG993McRPQvlWvLox7QGDRpkEbcgP+dd1TvoCpk5c6YaKIh8nQFNa1jJIntaQWa5
yoPSH5s3b16M0YE6SE2IORkD0nhQdWItxwXFbGY5kJuEBjM74WH1wY9OnydiSIIb+YaXLUTzv7Ia
6PsRI0Y8xmDbt2//FtasafJ3gUMTJoI4+VGgBzTu0QEDBjj9GRbYfRdoNdP9IF1mTGFo0XcGkMf0
hoIWCyBlj1lc165dXyX/0eoxjIlolHeuXLmmQZYvghh5rWQN0ytLXah/4gEGFe0deqhHoWkj+Mhv
UgS5IEj3IIwpZiO+Fy1a5IYlTlClwgmO4uvsUHPp0iXtNpOb9B/1Ugpxh+OeXo7mO8x0sglIY1aJ
4Z7N+FPTQCiZcTG2r5jOSrFixRoIteAKN2jYMDckoQLSqz9EhBWlKWUl24XQrjJHpOtUx4YQgaVE
IS5QF1v79etniDRuT2NK/rTqo7e5MAoi8gmXyiUkoMxaCE11vatixYpeGHb0Q0ybeHl5ad6E9oS4
oyFySgO2ExJxZAfyhwPJpseNgplYWswYOGwzZsyYxwjL6tWrBYk7dR2KYbqUNT8DN3REGcenfm4u
dFJwPbYR2d/pu4mV7CBUkBv+2KAE1621jc6SgCDapmAtkUg1KylORUsIgGBjhY6QarNSvxqUxpyl
/OI2orS4FqiQCCMJwgDMtk9SNvhcd1zE2y5ZcAVOUBBrNxNWcBnq+BmLaxgPU9X3//MWFN2ioqdS
oIZk5ErJkiVbjh49OkzYR4kKoFza1e487sIgDRBp3AVWcbJNmzZO9elL0PY3FD4pbyiXmYcZWuQe
mjRpYgbeUCGfSqmJajTM375ACOS2PPm/U69evZiFXzEQ3GUhGQP1utJKEoqaofWKxJYsWRJuj3Bo
CQoKSsozplFOLYf4AOK4gvrOjZK4hJgaITSZqQZU5nQInvVXL6Tx/+Sl03ipJ5WcsFmzZq/TuHnD
8tM2wRrm6H5cxPDZs/83DhdYHKM0fPyX6jRxVoD/zy039bBmzZqZrWQjU6ZMSYDV9wVx+ur39OnT
E8BPDAcqXbp0HaWhBNnlXxWWjhw50qlKj6r4+fkVoG4inCrXu3fvV2Rs1OfliRMnmjW3gfzsUhIp
MaTwI3NhBEK9J8MtqCtaX1IvwhVaQqJdH2rj494EFbxp+J40mHazm4gWdgeCy+E+0kCMnCaATZs2
zYCFaiHP21is6bMnlH2VRjmrRoVzRGlQLO7KbMFERV7o0aOHwypyoJWij/OtWrWyrzQPqn2r64HQ
8XCiBjSCxio8ANFibVFUEBZ9z7MZpAqX1WsIPy7iO6sOzNYN8KFXqJcLMkCIYYTT9zt06PAq96+W
cVDmX1GOgoS2UZ9fERUhzHTD98ZHg+Pj96LVmUHFmMk9ZH6Bhp8pjYaroYJgpQejEl1IiGLMYF/4
x4Fjx47ZKwBX8iLP+009oaH7/KlgM5McV3eLyjdzTkGs2d27d4+1iT6a6Y4RLUd5p8ENwm0kIrOx
yhtKegJEKLls2TLxI5Nf8hjukjJwMhHy7ij2Q+7dD9/7KCoo+69Jx44d35e/BwIfVK9e3YRSx48f
1ySWDSo0rqmbuTAKQkWYPasghXutJCPiPbJ8kMC+UNnNmzfdUJLdul6H+ibUaUXlu2zSbXiChWuG
u31gcFiCezM9wNTRPRT3DPf4wy3MJGjSLnCvmTD8qIAk+kh1HiJ/u0aNGrEy7SBWBAvpoQLj59aO
HTvWfKBRpxHu464slv/DLHBEglWZAbriAfPmzbOHUyhXK6WXKVOmqpWkaELjKFZwrRb2GkuFFw7v
G4urxd/fP4W66HFT7efPn+8OKubETeXR6jnff/+9QTCUd4TyjHueCOwfVCcS9XJKlq90Ec6wOgNB
BDNKnXu2RzbC/YmR9u3bJyWCOKvCqdPFSpaFD1VhcCFLIVZRLgxK1lP3EyXchWGnJMx9gedrEIn5
hA7PsXfqyOUVL178lcqVK7/Ss2fPWBsBHZaIJ6nziXzN0j5iKEQQqLYF5fwVlBoBT0tjcw8oSmC5
cuU+BP5/1m8ORXGnNRgIecy1cb+XroMfxWwYXFwKWt9NmcZCdxCBmK5YFOBNlOQcSqJp/tGacke0
oM/bxoKoyH5U6gys6hJpZsQzDWDv/QstjRs3zgohjjN4JeJ5BeJ7Hk5jnPuECRPcIY/vgWQD5Lrg
QFoDyqyOb+s4o4GXqgy4jNt169bVjj+m3gjLHdbUpCxpeIbWjjqPUTz5C53CdpMCZ2fU8MTWZjKq
BMhuogqgIo7pK6aVHCUhsniN+02PnjrN9Dz9r3fpL+FwmKOysbYxQHSc7ZVJ+Pc6Vn4VBXX4fg2J
TkB4WB93YrawVvTV2tp/C2MxKEfajf3795uR6mvWrHFDiZahBJ+Q/2RwjHQYRRXq4KquBRGXnDlz
Jk7cYLQFP95VDYV1/NquXTsT60+ePDkBlbNXhaBgUd+bKJSgZJ15vkEJrOQsjd0fi/tBvyFqYc4K
h8f8QsU6rRA1a9ZMA+xH283Url07HZYuHrDVSrILShEfpfhS+QUVfl67dq37jRs3hBBmsTUU4zJi
ohOIeULK+AckU0sn/woy/CkyKQNAKQ6CtKUJYZ9cHjF06FCtc2SgEMWwD23Dj5dUxxYFuoG2hztQ
1xkBQhPjj3/gPSdg2dqB34Pw1pBN/GuYC3tx7Z8oi9ND8318fAJQtC6TJk2KllJQ9vLKD0i52Epy
ECKI92noK5DO1vqtFXBRBIN8uFn7nAnCaSmEIZoowE8cWxVao9zN/fz8UmjnwSdabOhAxn/VBxul
6WMYvt7MJ8Ri5hGnx1ij8cfpFcr++uuv5jcKYT6U8R775NfQAjod591zNLfRGcGlvY7S7Yfshbkr
cGQC+TXrN+TKlct0zYI45bZs2WIvt/YHx7qHagqkfgcGBr6Di7mnexSVmYsQDYxVtCFExFW0Bnle
h4sl3LBhg3XFEyw2dFChsMZAK1n+NDMwp44hbS3gkpXYbt++He/gwYPWL6MQZi8LECLMHf6Jar7F
Aq9Q8WZjeGcE19ZTShFW6BeZ0IhmLS5c2TD9RkE2gJIO305ABXtPa9myZe2r1FAWh04pyLAnyKqV
+K9wrl/btm3j/LN9tAR06CJ0QClO9e/f3975Q8Xa1p/aE3qVGFcKMNvGUgj7x6LQQh6ClTfcQI8/
//zTSnWUpk2bvoo7svdtaOgZinwfNAp3J/9q1ap9IqJr/bQL4aX5IovLGKDfKMR4lGThsGHDwnRB
kEMTTusgVK4Lf3mda18PDg5+hXxkVEeczuE+zkFCo7SS/78ihJbacc4M1SpWrFiwbcU1KjiZPrwo
HdR4bG0JV4lie70DlzHLSnIQfSwSf1EPICgR5ocjLy+vqsCyfd4HyqsV8C+hTGG6IQmNVwX0GUcD
OvR+gkZmoXTqxNyLUpXi/XdwE+YjW2hZuHCh9jvfoutFFuEIW1Gkn7n3Z/K7FVdiFvcgL9fIX62l
S126e2XsCOgg5i8N/qNJkyb2LQpRArOEEBZzEeVw+SxoiXa7sVUoPjvMwSVacpBz5qsrKDED63vs
GwNWXA9Itje+tYvOAfjHdttiHI9KQEBAYpBvB4q4TspE2V+XKyPN9CmACit0He40EYqzRRaOeyjw
8OFDO59o0aJFahrdLCugA6V4oJCaNE2OuoIi/EEeVvD8ktqwzbotRjJq1KgE5PUNlP0NUOiNESNG
uK7jjsq1o4Onp2fPr776yqR/+eWXL2kQjNJ58ajYIkIw9kxYn8YOqsPLzCh/VAS9KM065UV8pmrV
qo8NykEhutJopgFtwu91QjjK9JhbsEnJkiWzQqLN2hgo/naUagZWflTv4vdZCKq5F/eSB4W4pKiB
fNbu1q2bId3UmZkvoQMF/IGQ1F8hcoUKFTx5Vg6IbTryb66NiXzzzTdacjFL7ty5g2kvdelr0PIv
5H03711CON8mOp8THhNCpyALHS60b9/e3nNGQaoJ6qTtjRo1CvcjT0wE+H8FyzeThynY7wpJrVN2
6dKly2s07CiFvVxjNmjh97ezZ892sAoacSEWvc76aQTo1sTl+0QJ4YbK48ePl0tIh9vSWMnzChFt
DSwiDXqacFd7bhDOVsKd/CWlBEXWgKBteIcZs6H7iJyqrlixwnWDWywByZKhZINR7tOgzj3+/sF7
9Y1nBUarrSyOodCaU3MYJKqv+ajWrVETWZ4epgJRIX0161mirloq3Uzh56UrXb1bzKJFizyIwzPz
7K8tiL0LB2is5QJtojWpqOAM5GMB19ynAXbB9MvRSPdVeO63j/SGqCWTQvM8hwXXsVAzeBiLjrRT
q1+/fglp8GwQxACeM5D3DqYRWtaqVctuDIsXL3ZDeXKBVrNwCVoOSV3uRoFkVDTSHhTza9CqFfyk
AGFm0o0bN0a77ubMmaPxLQVAhB/0Lhr/FxAogMhFI+VfBd0TtWzZ8mXQKyVIVYf3/yplJd/dVMfW
Y5wXCKTpjkbjrjdr1sweDvGC/GjifWk9PtPlSwXSgOmx9pNCIFUmDbe9UqVKOSh8CpDpo1KlSpXO
nz//MBr5hK6hoAfJUzZi+Be477juQYHN5GL8p6IQw4GwWNNRZBMa1fRvhA6jnZFr1665Xbx4Mdz+
FpAsEcqTEz7TBkVdRD4PoqRaN9J8k1G90TBXSd9D2SagHBXq1q37vkaUW4+IVIQ0GEl1EOkMz76F
og4jkkqu1YXVu9muXbvE5cuXT+Hr65scZH9JKwijKLV5r0ak3cZl1bYe5Zx07949IWTH+Eoqd9ys
WbPsmeW3bcDo4UGDBkXru0VE0rNnzxeozNlCB71HVg+POEMFHsfy/qBQhlPowBqXYZUfa2qgRBao
e/i7dMqUKVqurxT3XKbS7KO6bEI5zEc6GsWEj64WLTKi7mka5V2MKyeNVg1FHoACL8PIDtvKgXHd
omF/xf+PxJILEepGyCk6der0Itd1oUzXxIF4dh3awYT88KeUuPm+1MsG2kc7A+0FQdZpFBkucxVl
nsz7T4Emf/Ee5wMBKtJwBFUkPsoOixQwFRVslvaFqER/pbNIBK1+E2jrT0WZCUJ636MHPv0uebMP
qZOgSCE6R0X8Igslr2a0MpUxHwVxgEngNUjnUPzHVsiLLdFWDXCjRCBrcpDBEyXpDoqspSza3kD1
fZXf33GuNm7vPVDD7lKWLFniAd/JBK/SuFhtH3kIFPBUlKXzKHx2lGER93bhuYVQgpz8LoKL6sEz
j6KAd1DOAO6pI0XkOudmv2FtHjzAfFCiIpdCrOzoALx2UTqaeaNVq1Zh7mbrKpk+fXp8cQkaLhC/
PRarn4aGT1NhlAeU5djEiRMdOsOwDNtOwtq83Qwmhkz9hb+2r6RrE7hDVZ3HWg5ojU0rOU5Fm7cB
79oCUl88g6h3jX7X5jX6BP4rbm0WqNKNhu3E/19RZu0Ddo//V4pDWY8xSzPhUjvpw50IrpVsZPLk
yW4oSy3u01pfuyDiyXnOKeo0/NndoYVGKCiYlmWSUfucTw1Y4YEm1ATe5tJgTvu8mApW4K5tAdBu
L71fB5XyWFc2CmMG6toOlOFPfG3pAwcOPJZXKimr/DoNcAuO5IA0/4ag3JognBhFLUbZJmB0x6UY
HAqnhR7XQIUfUZyGKJF9cpXku+++k6s13eW0izsG8C5cKwvP+phnvoFhD5dxo/wHQY+hGNdsXMdt
c3Nkos4dVSY+aC/s2t7dq353KYlcCQ3z2IypuBDciFnpVgcV40ASJeR9IJV3lco8CbTOwoo+1fI9
1mkHGTJkiEZC2/pYWlnJT4T06dMnPlFTmhIlSlQU6SV/tfmbn4Z+M6JBtzVq1HgfFzEMpNkOCmjL
hGMY8XYU6RgoUx8D96LM12lbs9mKdVv4ApwkAarM6mpUvkMlUdnmow4PPz5gwACXk8nIROMK0HIz
9F6W7e/v/9jSOShJGkhibnx0asoS4beVBw8eCFHMDDDK9BvIGKsuMLalefPm79Bm2r4xBH6XD26U
FnQshmFMp760mNmccePGvQxKaKU7oef/f0EMT9DIBqogSM7N4OBg+9fDXr16vYrGme8W+DTzlS+u
hXBUq86Y0UQ04NHBgwfHWClF0kTo9EysarlWsrVO/eekQYMGZL9u3kfX71A4CiL8LiNCYZqq11bl
hQNGvhIP3MAsYoolLrctSC4h/i8vVyGXge8Nc9JvbAvWb1a91QEKRLqmpTOyceNGLRpeC6W4pvJh
VZuqVauW9ZdffrGu+J9ovAN++7XZs2fHGW+KqhB6PtYFr84ykH0aZHsnSvETRn0aJDTridOmEbfj
F1988Sa+10zw9fHxqWclG0FRJisduPljxIgRLlkBJSrSsGHDd3BlZvlEOMJ1Gs1lG5foOwAhWhWe
b0JUucTSpUuXEzmzLjGRF/H+QAhZ1WPHjj2xSvGoQCjTEXrfItTND3+opvJhTGY+C66ltHVZ2ILf
raALsZa7PXr0eNtKFoP1gJyYlWZ42LTz589bZ+JGtOoKbupL+T3lgXBpEozapY0yYcIEN0hcERR+
v95B5HEZ4hwYukMOZMyHspzhr8O8U5uQniooKCjGH6pcKcWLF69F253YuXOnG2V8E+V4oKgFtDhA
BBLmYvd2gXQMU2UALz+G7katV6+eFi01vYa8wL46SlzIuXPnNDy/CiGXGckM5J0jP7GycsydO3fU
qOkJ+cx4ByrvCrCa3zqtVWISUJEnMIrJ27dvf0whuVYr/S4msjGLtj4JQnt1A/XNjrrkz40ynaEM
9yDcb3fv3j3iAU3Epj+qIiiwQ1cu4UptpUuzIHYxGkQbVdH0d6DchIZiysTWAYcOHYpVyG7ZsmUK
kML0t6Acy/QdQFKrVq2UVK52GrzO/4+hBIQuAcY0jXrc3Ldv38fcKuihFf5zDx06NFbzH1pwc51A
iP3169dPQ57fx6Bu8Ps363T4snv3brkF0yWNP/W1ko1AMM2MLMIUbWEQ8xVLnJQWLVpko2F+1btF
ZvHf4/QByzodq0IdmG2naPwL/fr1e5WG/JB6MLE7edEW2AvCGjIIQS2E4TxQl7KVZBfKkwaGvxmr
dahfV8vZs2fdUIB3IeHVIMlm810UQft6HlL+UdhvrEvDl65du6ZQQXUDbNoB8gjHzAghoGabfJGV
HKuClWbDOs3msWL/8IY58BqH3rnYFEK499WDiau6h5X1pUL3q24wmh0oxnwa/R4N2xo34vB9pHPn
zlpvSxu3h7lan77/wENOUMcOWyS5SjRkgfw2wJD2kMe7MiRI+BW5CspyUfnmfOTLJVT53zqU8tEP
+/Tp47DYBo1h5iXykjj5CEReUOysdmVAMebWrFkz1md1hxbCTq1zoRV1DDphZfewrJUVKlRIg/Wb
FXtRmBteXl5NbcswSubOnattE3+m0U927NjRgWDK5aBQO/XMIkWKuHQNC+2d6u/vn4m6WkSja9ab
BgwdIOTsjOLmJ2rMCOrl4L3VIeSR97WUKVOmugqJQpwNCAhw0Hq0/ZDOYRmRbtUYE9HiphAyrYFt
lIFG0HoPc4G/OFUGCYw8MQpxmka/mDlz5q1UatPGjRu/TrSjoXJmN12bUkDW6qkXVaLBQhjQD1Jk
LLEtoatB1OHDh7tD2mdJGSjXfZ5xGBQ0kRzc4w2u1Sb7jYH5WjRcoapVqyYHbZxyj23atHnF09Oz
Pvk9rueTp/M8p2/t2rWTR3vmF5pVVwVEg08+uloJGm8WFcN1xNpUosOHD7tRqCJo9R+WMmgn/4m4
Mvug3riUpk2bvkCdfA4C5ATe3yD0dodHaGyFGRKnBqfhdwLHt8WtRETVyVWjRo0yQLPmqWgDt2uU
qVpISEgC+EMKft8CZXdgtfPVcEI+XFMaFGGhBe+mS577/5bC4KIXoUTteIYnBvshxpIYxXqpf//+
CbXIOor4weeff15BPaxCBdWZOAMKVSBaI6JCCwU3k2FokN9hyA4KgYXYFt78PvQMJVeJluMFTitT
YcbyqOQ7EEitvxhrK8FERYD+F4hu6tu6uNWYKMP35O99lNZ8CBSfUHiMQZ0m/7fgCv2FLvx/jWvG
03BmbgZt28DPzy8NdfmbXBHXa/9wTeU7jLL04rlTQOkd3HvJxulQkJvUjTZ811S/NdyzlEObwB+V
Iug53H+Cd3YMPSo+RkKBTbcwLz1HLO6gXWRypHXuPDDm0l7K5cuXa9JMBSrhkt5BRfxN5bXB4uIs
molIcBNJsOghahTlT8iAgazp1KmTWd0fKzWf46kbkbabHDew6g64jgQoiBcN95NlvfeEAN7e3nnU
sYe1iyct43qt7a2vx2Yo4tdff+0GarwBIuQqVKhQExRgMgi0GWXUQFkp2A2uv8Hfv6mrP8nLFiKX
DriHdBpboWe4RPCNtayCPSS0c/hoBBEx51Qgwip7R40rhOd9hqabfgYKeKFs2bL1ID3/ymCV0CLf
rwGzNNpaWaryp0bFOGbAaeykrEuXLlk5f58G0ifl7SCtn23ras01paE0Ilp7dE1S46FA9k41fP/L
GvtAg3amzsOMOjZs2OAu91C5cuUUoFB2UMCTZ3nCOT7nd3oMNNwpBDESGqaMCq2jWbNm9l1sJPhx
lPN/PYVUyISINoWPimAJYt2mn0HKgO+rADK43CVFVQIDA19TaIZxmBnbVv4uFy5cuAfuw2F1vEGD
Br0FB6hF4xShgcMNJZctW+Yu8gfixMy3x5W0bds2g+BQhRcRspKN3L592w0CZOYz4sv+hjjFeB4G
lpWI6GWRVdl/lyhRoop23rdO/yuiNSOA7nzqdwEN7CvzCyFwqQOHDRvmoAxPtezcuVND2K+pAvI8
MkNZAnyWwheaKe3ZsmVbC2pEOxQEUj1Qug6CWsEwMNh25cqV/5qbmDhxogdhngavfoGvvmBThNAH
SnuNepkLiuUGFZ4IfhPrAoExWz5jIYexBgdomzNnjuLo2WK9QhIacQ6+LUpKoRFKuIQkxMjak+qG
3sUzZxJGxWp3NCT5PRrcz/ppl9mzZ3sQ3WQkohmMe/jDVja5CtzAJMjcLoWDoRUDhbkog4EUZpg8
efK/znViVWhkM+2eStAgmMeGp+H/3oM4mV5LrPshlbYKkpQT3xjhZFL13hFqJeH5lUAXzTIyA3h5
1g/cG+aK964SeMpb8B4x8UlWkpi8B8QwI2R5EI0eWhH+oLGHk9csP/30kwd1kFRT3yCD35NnM05E
h64nKjoJpwjmOUmk6E+ltGvXLg3k0cxUxnLHaWX3R6VmzZrpIYKmJ07XwSnOgixfwqRL+vr6poFl
v6E1sokW3iJ0SocSlOJZ/aj4nQq/VJmCZdK+qFevXqyusqbP2aBRH977ALavDc805iEVEVVP3KPZ
fFUHUc7vuIteoEWmFStWPGb1KFViDYzhno0gmx0xUJIHoOn3lLMkyOe6GdZPkmAhphOKRrvWsGHD
MGcLYznvct0YlOGyKlTXU1G3qdhTHBqqtYO/u3iGFtEy0YmIGb/PUPHTgdvPtHaU9bhYk169er2O
JZ+mIX/v1KlTMsX1KOZhKbPtIF/aBWgBypn6t98i/iosxQAxGmbKlOlnoZxNMeAXV1Gyof7+/u9p
H6ynSoDLIjbymDt37imPfs2ziXbth2gWpoHH0Pj7QBbtqKMOmAfWcYe06yiNVqdfhXtpSWibBW4S
Z5aE5ZZQg+My9nAsVrmkBCjmCaKmYSBbKyx8GUp7izzuDQgIcGrgTYsWLd5GudrgYo7peaor/QU5
t1eoUKFERLsH/Odk27Zt7jTefBVS8AhHqDR/fvgfOfWVDTeSlLAxD5FDFeLxQHxzIFZXmQYpzP0p
hgwZEudjMCW4pd4qh6yZBjNjG+SqaLR0ch9LlixxAwU/hiMc4PwDHx+fAOvWSGXBggXqdPpIrhWE
MHt86EDZruAmOxHGPzG7BsZYsJSPsHrTe4gVnIah59iyZYt19r8jIIBZLFSNDRJshdcUnDVrluEI
WkUPJdYU+UNCMoxgXJMmTaK8Cs748eO1+VpJnr9dbtGmgCjKfAzlPz3Pw0G8vb39BKUqIBZ0FDKW
0zapNKZy9OjRWO+AunDhQjx8vflsT/7X0tjmUzOooHU1taudNmG/A6fYDy+oNHTo0Bj1LQQHB78N
gR1kQwshEkqyAxecs0uXLtZV/2HZunWrO0SpA9puog6FWbiD8u3bt49RnwFM/kOe4/Qio9GV1atX
v4SLOK+8EwGZWc7Dhw93AyUKgwr7xCfgSIsguGZfblfI6NGjPTAkb0isXJDhFuIZlSpVKgZ3+te7
5GMsgYGBHvqSBlKYTiQs6gaVOJZKzEwBo2xRY8aMSQS5W5stWzYzCjg2pXHjxsnIrxkjShtVu3fv
nvmQho/X7Onb+fLl6/vodwlXSf369TXGQd3fJhJBKc6ilKV6R2OHgCdOli9f7oGPrGnrwLEK+BcV
Or5YsWJFUY53NLInsr0dduzYocU7tOTPQyITeydRbAkhoFaVN/ktWLDg54TKGkl9ED9/HyXvGXoS
c2wIHCUxkchQymvcLnk5C2cpKRJuXfLfFth4VtBhngiYCqiD/zVaaD++cjaV3B0r0AprJWnw/PzO
j+/O7+XlVYEGqYMCdQeqzYwhXFGUd9uJqqCoOWwKDCn2BZWW6zeWO7dv375xMlFZa1dQH8Eog0FY
IQUu83N1mD0Vor091SuHYizEP2uLBHvnjA7F/PLNHLdESGUd/DUEK/R1ccEh4Ar25YSzZs2qnXA1
GuxAo0aNYrWr/FH59ttvPSCbDeRulReM4ijhqhlc89TI3Llz4/v6+mYmtGqaI0eOpYSoB7ECDfG+
hVJoZJC9J1AHvzUUzHR26UChKliPijUhcjCDhm2H+iCqVKkSpU1lXSXWrjvB1I/ptSUcXtesWbOn
81P65s2btblqMiwye5EiRbyxhvqEdK2Bx9Y0QussWbK0BjaDsFKzKZmOwoULR7hNoSsEF2WWFtJB
Xs54enpWOHDggHU27gVC6QGnGGYzEuqpZ3gLmTwTotFQtgYCVWJdIeAtZoU5HX5+fjXieoJyWIJS
vIZhbFSexMVArDC3jHompEaNGva1oUAIs0d4bAokcqDtfe3atcsPd3DTwlzW6X9NKleu/AnIaTqv
5DqIRp7Or6SRSYUKFbIp5FRFAOf2/TdjS+ApZhce4FkjvGYR8QzgvV1xHY2IcuC1xbOgpO82bdo0
kat6YJ2RGTNmaN1ts3Si+ingOv/KWl3/urRv3/59KsD0euIyxlrJsSaEwov1rrAOyJ1WnruiT+Fw
nGVyLzRMoWrVqiXRss3WI2JNWrZsmZR3mzkoOXPmXLV+/fpnj0sA1/GpBLNGFY216eDBg7FaCbzD
bKng7IFP13eNXShHPwjyJ9oPy3pUrAgEs4/ei2LeatGihcu6z/9TgjWaBdPTp09/DoIVq7OyUAiz
voP6RtKmTbsvVapUmoB7jAY4znEOlLjGubti/DalsB0KUYH1qbi5LD169IgVxKhZs2Za8mRGX+G+
HJZvembk008/NTvj4Dr+ady4scMeVa6UnTt3JkAJzOd7GvdmQEBASir9pYEDB75Tvnz5d3ENmQiF
PwMNqsMneqM833D9MZTkRmgFQXHPEkq3RlzeZ6CBR7zXbK2UK5ylA556oVGqiuSpEqjoWOut7Nat
WxJQwHSxp0uX7sKCBQsiHKyyefNmrT/9LkriBb8Zj3Jo60Tb2IYHENSZRAcuX88BsjtF78iUKdMS
K+nZki5duiSnocwcSSp+zqFDh6wzrhV/f/+0cAJj6XIT169fdxr2RfAaNmz4ES5jMHk1nEeoAbot
IyJx6YIlefLkMSvzgGKRr+jytApWYXgEBO5kSEhIrBC3SpUqfa536ACWnVvg+xERasAhCml4nU0p
ChcuPH7o0KEu6zcgb2P1bLjVQivp2ZMCBQqYZQfUJ+Hn5+cwh9RVUrRoUbPWhQ4UcKaVHC0hj+lQ
isN6FiTwHkriku8w48aNc0cRtuu5GudpJT97QgWrg8p86MLimlrJLhUq2IR0OiCN/azkaAt59oRw
mj4U/P1Pts1KYiK4pQwaPiBORZhr31T/mZMNGzYkkF9X5eKXY2WJoqxZsy60KYSnp2ctKznaMmbM
GG0VaSY7i2QSMuayTkVLUCg3FNW4C4XgoTfGfSYF1m5j1/vXrFnj0jkMmzZt8gDizdZQckt169bN
YZ2KkRCBtNIzdRCuRvtbjCYDValSpQDoYLZXQjH6WKeeXaFy66tiIZbX27Vr59L5C23btv2A6MAM
W/voo48u9OrVyyULahAyl7QpBGjh9PyNRyUgIOA9yKRZPjljxozH+Z3UOvXsitZgUA8iDfYP1uLS
RcXKlCnja+vroOHsO/HHVIoVK2ZXCB8fn8pWcpQEPvo6btLs9wFC/F2uXLkwN6Z95qRBgwbZNbQu
Xbp0DytXruwy/6m5GLijibaGI6IJtk7FSOTzCxUqZAb4pEmT5nqTJk2iPAwvODj4HbjNAikrruwm
hNql61T+p8Xb29tfFQOhuti+fXuXrR7fo0cPLTZqlgHSx6r69es7bMsYHdFcDkikhu+bRdHy5cv3
+JT4CGTKlCkaC5IyV65cG3Q/hnATlAjq2rXrsztayibaHQ6S9x6k7ydVDhXz3alTp1xWMbiiuiia
6aGUu5gear+LqEpISIiWI3wZ5a2K4hol4+/voJvTXyY1Oadq1aq5Ic/mmwWIeNHLy6v+unXrnh1l
0M5yM2bM0NJ67hDGBM2aNXuxWrVqWqk1dZEiRbT4xj5VDhZ8i8q27/gXU+nSpUtiINmQNYWGuKJo
LTCu/TEaNmz4WqlSpYpqAHFKawUZGvMcHCDSLaFt0rdv3wQ0fjV40jkpKeU+6O/vX8Q6/fTKyJEj
tcbyaxRe+2uWxTe2xo/3yZIly/CcOXPOhUmv+vjjj3/B916Sm9BHIyr3j9KlSzdesGCBSz4t43bi
Fy1a9As9X40H8mzRlpLWaacExdWCY9oju5m6u22fptWJRll2a9aXdWmEsnTpUj0rMZFUP7kt7r9L
PcwJCgr6wLrk6ZVGjRq5Y0m+aP+P+FjT68ahDVQ1N+MOx3Uq9hJh4CkUYx8wPoeGC6pVq5bL9sgE
hRIWLFiwrbqV1YC862qdOnXyWacjFdAgAQiWR6O4cAl/WWUwO+yiCFtBtcDu3bs79aVz0qRJZoN6
uUJFUdTJBZAxaPTo0bG6htYTI6BCVRr9phQAFDiCJUzNkydPMBVSjXNlid3zU9mZNfN669atLq0U
+IE+Yr0FyRtBHsyEIazxDgoaZF0SqbRu3ToZZG8k6KVxECJ8NyjHLsoQgsvJs3r1aqc/vnXo0CER
6FINUqspjw/hDZr57dJFXp9ogdG/RuG1O7967r6ANcfOiqqPiBbqAAFeBt4r6ruC3i9lwKJvYI1d
nV2qqE+fPglQJrN8EvdeyZs37zRfX99iY8eOjdI0v8GDB4svpSTEnYZimllruMyxENIorzXxn5aS
JUsGqjEgcoeGDh0aqxuPacvEXr16eRC+JfPx8dEi0evk29WY4iS4o8P6QAR7d5qTgC5FRT6B9fOg
QZEbN25Emfm3bNkykRZcxWWabQlwOSdBRr/Fixc/PUsKOSOKHmiUX1QJMO/6VrJLZdq0afHw3Voa
8E0arCgWPJKGP4ICmLCSv/chpydBpx5t2rSx7yDojADvbrg38wEMjtDJSnZaRKRRzvS4m6+FCnJV
ikhq166dxrrk2REg1R2rCEAZtOnpQQiTS2ZS46+1prZ7/fr15Q5SgkDlqPAxuIWD+HajBLzzAf9f
4b1bIafNtbWxdXuUpEqVKrl4zi31C2Dl5hn79u0z55wRXEsl0OCM8qSwElfV7Jkhjmi9Vm33CAwM
TKhl9/TVD5i9CZu/TsWU0DUTJkww10ZF5s2b56ZwkXDuNW9v77S4gioowGDgdzOVbF/uUGEbPv48
oeAmDa4pV65ctvnz50d71BJKlDh79uyb9ezPPvtspNIGDhyYMDg42OlBv+TFrF0lvkCI+WxNx9PS
vxp4iqWuALK1BMAD9diVKVOm0ooVK7SMToKaNWuGubFpeELUkQrFao6lT4WY7sZS7avEKmKhoi+T
vp9oZQLM3Z9KT33gwIEY9e5NnTrVTV8aiSDM9wSiiROEnOabBKj0AYgzzlzohOBmzOp2qgu4S1Er
+dmQnj17psRCzWihbNmy7cBK2zZu3Nj+cadevXpFqMyO1k+nRIzcpgAWAlxC2XajAGMLFy5cG+TJ
NHv2bJdCMOFvrSxZshyRq0O5D9WtW9e+qy2haiU4xWTrZ6QCan6o/g7ln4hiDpHPs/Vdgsoy2wjR
YDOCgoJeU+gn6datmxuN+3Xx4sWrmAQnhXBvrqUMGkZXGxhPt2fPnlhl5rynv5QBZLgCKf7UttG9
VrhF0XeVLl06SpNlcDdmjonCXRDmidnJN05EcTYVadaGpvK24C6qcaQiwqiKZV/G/yazLnVKcBVf
qDKxsn8gkLGyf+WjAg96QwinMoAUByGCwXCiUijnetJ/+uKLL8xAnbZt27ppArC5KQJp3br129SJ
+egFSkyaOHHis4USuIn8NP4B+U1Vqogl1nEXyxup/bmjIliX2d9LB/wg1mZwPSotWrRIDodYAkex
z9CCwJ7FBdg3hAEBk6KkTs1Oh+DWVfiLYt+BaxW0kp8d6dKlSxL8bXdIoFkaB0vbp51sdQ4YVr+B
uS4yAZ7L2xQCS4315YVCi2Z305CFcH/7cVn3iXAcdg+CIOeERE+zfkYoPCs+6LDAqosdkFanhwNe
vHgxnpaMXrt2rRtHvCNHjlhn/gNSvXr1FwgP39DnauB+i+WL9xIB2FfLr1GjxgeVK1cOc/X8R4Uo
I53tY1T+/Pl7WclxJoMGDXqF/J8lfNwwa9YsO3eBQMfPmzfvdBAsxEqKVBo1avQuzxJZ/adQoULj
cK/hhsSHDx/WZ3Ht3vMm7qpQwYIFAzGwECKuZrjfQqpjjRmxLn9yBZgdTaGPA7X3FRFAJL/Chzrs
dYGld6NCvKyfEQrWEJ/n/S6FwH+v2rRpk3UmbiQwMDAzZZEytteIJpAtPkr6AshVi5D6Om4sSiOt
iGDy4UIvyn1QN50fXe2X3xp19TIGkxfOMpoo54QINUpkdg6QgXGvjOxIyZIl20KyY/VTQIwFnjBM
jZcrV65tEK50t27dss78TyBiyUCOP6hop5fbQ8lm6pk0wEXcTpyuyEZ+C+rd5KE5qFcze/bsc2ik
lbjCC1jtdOsyIx07doyUYEpocF+U4poamEafDg/JANIkhVt8yt8OGiIAKt5FEa+DTHtxNaNRyKYY
Uj1QqSUuZxX3miEEnFuKUsTJx8JoCZlLCfm6CDpod7p2lSpVerlXr15uo0aNUndzYgq8HGXZPGbM
GKdDRyyhsgqvw9fXN05HEtWrVy8FZbmXIUMGrRGhjd61O66sVYN+HQbC8LvfL7/84tSqt7gBHxT8
tCyexr8N2bzAX/1/C4XYB4J2r1KlSpb9+/fHHz58ePyQkJAXcFMeHBppprmkFcmTWcYApZo2adKk
J/cjGf7NVyOOqTjNp9iOdfWEfNVFszeRfg2/GKXZTAMGDHid51xW4bHKMT/88IN1Jvblm2++SSBC
TINdwzoHk3cvSOb3WPh1GsY+T2LEiBHuKPp6XIrTUwXq16+fjmeNUFc7qPkNz+9Wp06dwps3b35h
w4YNGn39XokSJYJIn8V1S3n+ZBSlBlFcEtBI/Ko0yqrdCjUM0Okhe/+K4CuLoOk7gD0DbWpMKvE2
hLK2dUm848ePW/9FLlTKBD0DuP4TK4lTt4E11gQpils/tbPxd7iMqyjLm506dXLHBbyINRenvL99
9913LpmlToOnh6fMwZgag4qlQUkv3HEXyr8PBf1NYzxQkln8Pink4v/wd655UmTJkiUJUIDPyfRZ
ZRotbh56VzoKnWrq1KlONS6MPKf8qpSCyolSb6erJWfOnJPIyz2suQz/D8fCt6Ps5/DnU6xLYiw9
evRIMXbs2Bcg5PHgTVaqCV9fgYwOkXHJjXXo0CEDingY93Me9/Lkug2bEIZ+Kp8L3O0cN26cPcMH
Dx6UpQ1ESTJZSZEKFb5ECgGx2zZt2rRwv1+MHz9eyubh4+OTCKL2CrD7Yps2bRJQydYVMZMiRYo0
tRBP2zFpG0kzLA/SV8e6JEZCeBsPQq4vxtngXNVxk9UoxyfUZUJt6kJZ3OEN83FjdzG47LibmeI2
I0eOfM96xJMrRYsWbaLKAvo6Qo5EEI3GE5O/A6/4Ew13evgYFaRZXDcVBuLLy8+e/b8J4YsXL1a/
gEZ0v0TFZaLBWhGiziI025YxY8ZjkNw9KNFyYvgg/O57utbcGE0h1PwQl3EDy/wVJWiIwhl3Rlmr
d+nSJX65cuXi275/REe0gS3PnUGdzQcF+tPgX/Ouc5RprZ+fXw44RApQ6WeUUYa2gGuGopR3QKwn
XyGAN9P1TGOEUFE+uI+qVGB5CrmawnyLz41SxUGqxuh5NPIxLKYw/jU5vtYb9BhKpe0VyaJyFLJd
QxnOkn4WxTiHBZkuaCrvHO8P1FwI65HREvGKbt26mZ5XGi9AeaI836F488jbEhS/VXQHBLVq1aoi
hPMj66cR7e4nBdH3INzUJo6V/F4CSb8NpzhFuW+tW7fuyV8qgMqvpcrCss2QdR36TQPdByWiPD6A
EPYtKsBM4afhzUcvQTYVclWDWYDSzjSWJw3+vmZ6aRwG5DU+pPBjlKmHfD3XP0CJRgcEBLjE50Iq
P6F8ZuExnm0bsaWvs+NcuQ0jaJpQfIW6u6dBOiChn/XO2yhI7CzC5WoJCgpKgYWeBe7motHB+MPR
qiwhRHShG4L5Ec8ZDyLomcNQuqooioHLhQsXar7DK7DwoqS3LF68eFMigNw0/otbt26VpYmE7ZVS
cL6pfHJMhWjDgwZZoU4iLy+vpiDFRCk8x8OyZcvW27lzp3Vl9AU3q6mN6SjvtzIquFcFUMRHCgEK
h8ArMliXPvmCr7d/toZIBqsQ+NvggQMHevTp08edCrXOxlwgWf409Cb4yUTeNZi/M3ATpwjLdsE7
ik2ZMsUdwpYRDnAdaL+skVHWrTGS3r17v0F5zEhuTU8EjTQ7THuEXwoMDIzR+lhz5szR11IvynEJ
dPwZNFKYOaJUqVLlrLqM9QXiY02AuVGWVi+msWZhWVMhgoVctRMdjV5y1apVDhEIDfUaDdRX3x4q
VarkXwbhf9PLRz6iPJLaGRk1atTLoOCPegeu7EcigGgvdgIypEEZLnt6eg6Fl7zE/2dRjPVEIL3k
okCK/+5YTSCvuSpJh1yH/kKMbgGB5YYOHWpdFX0ZMGCAVl6Jj1tJBLFL0K9fP/dly5aZc/j0zlIK
KvQKJHcGxPMuFbv16NGj5ryrBd7yCUh0TWXEEEbaECQqQrSiMSGzUKpdRFMJ27Zt+zL5v4oiaASW
xnueAYFjdZO4WBXgM5N6L0GHjVRSa/6ahceB1rP49xjB94gRIxLCHeqAOoshX7th5D/gNsZpaWTO
aaZ2ARTiJpb7vcJC/v4CyTyLG4m1L4Y+Pj6NxFfgE/q201xh6VdffWWddZRff/013po1a/TJXaOs
NChZ3dOvUTfXvL29zYJoKHtWKQP5vg5XWQvyDTc3/5elWrVqvuvXrzdaTUO9jFL8LKUAvsfNnDkz
2q6DGL0hStYc1p+NSCM5BK8YlvU1FXqVhhkodOBdCk3voCQfgg6zUc6LNFSsfS0U4aRcZqAw73oI
8fyWMLWZv79/WRAsDw2ai0YvSx7Kcq4S+WwBYW7B/y0oSwuioRDuuw/iFYP7vKBISc+CQ6y4du2a
244dO56+OR40TmEVGtdxl/9dukApoae74FqViMuY0L1796T6wCYihkLMxdIu4O9dupjZo0II/DJR
1lJcpAlNo3MoYkGZf1LfilwtiOGSXtEnVoC/NSo4ljE9Jr18j4oGtbRv3/4DfPnfVOjUPXv2xFPY
mS9fvuG4jD0oxS/WpbEqIEVCFLMuedhKXjQL/i6H6fa2HQpVaWxtw3BHB/WhT+3auVDpdmWCN5yI
7Tmy/7rA/ktS8IcgxV3IWG4rOUaiNZ94bk0UQFalUUZ/TJ48OSFWps/X52mAu0DwKOvyOJNdu3a9
CkdI165du7xEEHnhVXmDg4Pz9urVS7+1ZkTy4sWLJ9dfrskaFBSUl8DIl9/TU6dOfYMy1bAe9fTK
uXPntIioWc8ZUriBuD5GzBnfqnEZFWn4O/jkYTT8CCzzQZ06dd7JlCnTYSpWu+Jcgs/ktG75TwhR
09O1sWtE4uvrWw6UMEP3IV7BWk/BOhVl6d+//5s0+O+El5O0RRNK1gxE+Kd69eo54BB/46I2gBav
HzlyxGXu6bm4WO7evesh9iyUSJUq1X2ihDZAa/zoTBBWt7SiC6DYTP+Hm4yVosEZDur5sPe25sLn
8mQLBDA5DWn2wNKhjzn6hN61a9esnTt3Tpg/f36FcR4QNA9CSg8a2qNFixYJatWqlaBcuXIJCDcT
EKIlABFWcyzUxiuTJk1KhJswK9gIgXAjl3lPlNaJeC7/ouDXU6m/wKYUtgMXoF7Nv+ACJ9OnT38S
HnDyww8/PM21UhytB20OogctZqZeyIN+fn7FiffrWejwB8qTE6Wpar3qufxXZNq0aS96enoGQzTN
LOxHlcPZg6jlNgpk9tSCqbe3Hv9c/svSqVOn9D4+PpXy5MkTgJJ0xWV0JXLoiivpClfo6u3t3RV3
0ZVrupYqVcqch4sMwk1sAymMYij+HzBggFPzJp7LUyxVq1atC8/Yyt/nnCFGEi/e/wGe70+T4eO2
6AAAAABJRU5ErkJggg==</Image>
        <Text id="Profile.Org.Postal.Country" row="0" column="0" columnspan="0" multiline="False" multilinerows="0" locked="False" label="Profile.Org.Postal.Country" readonly="False" visible="True" required="False" regex="" validationmessage="" tooltip="" tracked="False"><![CDATA[Schweiz]]></Text>
        <Text id="Profile.Org.Postal.LZip" row="0" column="0" columnspan="0" multiline="False" multilinerows="0" locked="False" label="Profile.Org.Postal.LZip" readonly="False" visible="True" required="False" regex="" validationmessage="" tooltip="" tracked="False"><![CDATA[CH]]></Text>
        <Text id="Profile.Org.Title" row="0" column="0" columnspan="0" multiline="False" multilinerows="0" locked="False" label="Profile.Org.Title" readonly="False" visible="True" required="False" regex="" validationmessage="" tooltip="" tracked="False"><![CDATA[Kanton Zürich]]></Text>
        <Text id="Profile.User.Alias" row="0" column="0" columnspan="0" multiline="False" multilinerows="0" locked="False" label="Profile.User.Alias" readonly="False" visible="True" required="False" regex="" validationmessage="" tooltip="" tracked="False"><![CDATA[ ]]></Text>
        <Text id="Profile.User.Email" row="0" column="0" columnspan="0" multiline="False" multilinerows="0" locked="False" label="Profile.User.Email" readonly="False" visible="True" required="False" regex="" validationmessage="" tooltip="" tracked="False"><![CDATA[stefan.gamper@mba.zh.ch]]></Text>
        <Text id="Profile.User.Fax" row="0" column="0" columnspan="0" multiline="False" multilinerows="0" locked="False" label="Profile.User.Fax" readonly="False" visible="True" required="False" regex="" validationmessage="" tooltip="" tracked="False"><![CDATA[ ]]></Text>
        <Text id="Profile.User.FirstName" row="0" column="0" columnspan="0" multiline="False" multilinerows="0" locked="False" label="Profile.User.FirstName" readonly="False" visible="True" required="False" regex="" validationmessage="" tooltip="" tracked="False"><![CDATA[Stefan]]></Text>
        <Text id="Profile.User.Function" row="0" column="0" columnspan="0" multiline="False" multilinerows="0" locked="False" label="Profile.User.Function" readonly="False" visible="True" required="False" regex="" validationmessage="" tooltip="" tracked="False"><![CDATA[Projektleiter Lehrstellenmarketing]]></Text>
        <Text id="Profile.User.LastName" row="0" column="0" columnspan="0" multiline="False" multilinerows="0" locked="False" label="Profile.User.LastName" readonly="False" visible="True" required="False" regex="" validationmessage="" tooltip="" tracked="False"><![CDATA[Gamper]]></Text>
        <Text id="Profile.User.Mobile" row="0" column="0" columnspan="0" multiline="False" multilinerows="0" locked="False" label="Profile.User.Mobile" readonly="False" visible="True" required="False" regex="" validationmessage="" tooltip="" tracked="False"><![CDATA[ ]]></Text>
        <Text id="Profile.User.OuLev1" row="0" column="0" columnspan="0" multiline="False" multilinerows="0" locked="False" label="Profile.User.OuLev1" readonly="False" visible="True" required="False" regex="" validationmessage="" tooltip="" tracked="False"><![CDATA[Kanton Zürich]]></Text>
        <Text id="Profile.User.OuLev2" row="0" column="0" columnspan="0" multiline="False" multilinerows="0" locked="False" label="Profile.User.OuLev2" readonly="False" visible="True" required="False" regex="" validationmessage="" tooltip="" tracked="False"><![CDATA[Bildungsdirektion]]></Text>
        <Text id="Profile.User.OuLev3" row="0" column="0" columnspan="0" multiline="False" multilinerows="0" locked="False" label="Profile.User.OuLev3" readonly="False" visible="True" required="False" regex="" validationmessage="" tooltip="" tracked="False"><![CDATA[Mittelschul- und Berufsbildungsamt]]></Text>
        <Text id="Profile.User.OuLev4" row="0" column="0" columnspan="0" multiline="False" multilinerows="0" locked="False" label="Profile.User.OuLev4" readonly="False" visible="True" required="False" regex="" validationmessage="" tooltip="" tracked="False"><![CDATA[Abteilung Fachstellen, Entwicklung und Projekte]]></Text>
        <Text id="Profile.User.OuMail" row="0" column="0" columnspan="0" multiline="False" multilinerows="0" locked="False" label="Profile.User.OuMail" readonly="False" visible="True" required="False" regex="" validationmessage="" tooltip="" tracked="False"><![CDATA[ ]]></Text>
        <Text id="Profile.User.OuPhone" row="0" column="0" columnspan="0" multiline="False" multilinerows="0" locked="False" label="Profile.User.OuPhone" readonly="False" visible="True" required="False" regex="" validationmessage="" tooltip="" tracked="False"><![CDATA[+41 43 259 77 00]]></Text>
        <Text id="Profile.User.Phone" row="0" column="0" columnspan="0" multiline="False" multilinerows="0" locked="False" label="Profile.User.Phone" readonly="False" visible="True" required="False" regex="" validationmessage="" tooltip="" tracked="False"><![CDATA[+41 43 259 78 06]]></Text>
        <Text id="Profile.User.Postal.City" row="0" column="0" columnspan="0" multiline="False" multilinerows="0" locked="False" label="Profile.User.Postal.City" readonly="False" visible="True" required="False" regex="" validationmessage="" tooltip="" tracked="False"><![CDATA[Zürich]]></Text>
        <Text id="Profile.User.Postal.POBox" row="0" column="0" columnspan="0" multiline="False" multilinerows="0" locked="False" label="Profile.User.Postal.POBox" readonly="False" visible="True" required="False" regex="" validationmessage="" tooltip="" tracked="False"><![CDATA[ ]]></Text>
        <Text id="Profile.User.Postal.Street" row="0" column="0" columnspan="0" multiline="False" multilinerows="0" locked="False" label="Profile.User.Postal.Street" readonly="False" visible="True" required="False" regex="" validationmessage="" tooltip="" tracked="False"><![CDATA[Ausstellungsstrasse 80]]></Text>
        <Text id="Profile.User.Postal.Zip" row="0" column="0" columnspan="0" multiline="False" multilinerows="0" locked="False" label="Profile.User.Postal.Zip" readonly="False" visible="True" required="False" regex="" validationmessage="" tooltip="" tracked="False"><![CDATA[8090]]></Text>
        <Text id="Profile.User.PresenceTime" row="0" column="0" columnspan="0" multiline="False" multilinerows="0" locked="False" label="Profile.User.PresenceTime" readonly="False" visible="True" required="False" regex="" validationmessage="" tooltip="" tracked="False"><![CDATA[ ]]></Text>
        <Image id="Profile.User.Sign" row="0" column="0" columnspan="0" label="Profile.User.Sign" locked="False" readonly="False" visible="True">iVBORw0KGgoAAAANSUhEUgAAAAEAAAABCAYAAAAfFcSJAAAAAXNSR0IArs4c6QAAAARnQU1BAACx
jwv8YQUAAAAJcEhZcwAADsMAAA7DAcdvqGQAAAAadEVYdFNvZnR3YXJlAFBhaW50Lk5FVCB2My41
LjEwMPRyoQAAAA1JREFUGFdj+P//PwMACPwC/ohfBuAAAAAASUVORK5CYII=</Image>
        <Text id="Profile.User.Title" row="0" column="0" columnspan="0" multiline="False" multilinerows="0" locked="False" label="Profile.User.Title" readonly="False" visible="True" required="False" regex="" validationmessage="" tooltip="" tracked="False"><![CDATA[ ]]></Text>
        <Text id="Profile.User.Url" row="0" column="0" columnspan="0" multiline="False" multilinerows="0" locked="False" label="Profile.User.Url" readonly="False" visible="True" required="False" regex="" validationmessage="" tooltip="" tracked="False"><![CDATA[ ]]></Text>
      </Profile>
      <Author windowwidth="0" windowheight="0" minwindowwidth="0" maxwindowwidth="0" minwindowheight="0" maxwindowheight="0">
        <Text id="Author.User.Alias" row="0" column="0" columnspan="0" multiline="False" multilinerows="0" locked="False" label="Author.User.Alias" readonly="False" visible="True" required="False" regex="" validationmessage="" tooltip="" tracked="False"><![CDATA[ ]]></Text>
        <Text id="Author.User.Email" row="0" column="0" columnspan="0" multiline="False" multilinerows="0" locked="False" label="Author.User.Email" readonly="False" visible="True" required="False" regex="" validationmessage="" tooltip="" tracked="False"><![CDATA[stefan.gamper@mba.zh.ch]]></Text>
        <Text id="Author.User.Fax" row="0" column="0" columnspan="0" multiline="False" multilinerows="0" locked="False" label="Author.User.Fax" readonly="False" visible="True" required="False" regex="" validationmessage="" tooltip="" tracked="False"><![CDATA[ ]]></Text>
        <Text id="Author.User.FirstName" row="0" column="0" columnspan="0" multiline="False" multilinerows="0" locked="False" label="Author.User.FirstName" readonly="False" visible="True" required="False" regex="" validationmessage="" tooltip="" tracked="False"><![CDATA[Stefan]]></Text>
        <Text id="Author.User.Function" row="0" column="0" columnspan="0" multiline="False" multilinerows="0" locked="False" label="Author.User.Function" readonly="False" visible="True" required="False" regex="" validationmessage="" tooltip="" tracked="False"><![CDATA[Projektleiter Lehrstellenmarketing]]></Text>
        <Text id="Author.User.LastName" row="0" column="0" columnspan="0" multiline="False" multilinerows="0" locked="False" label="Author.User.LastName" readonly="False" visible="True" required="False" regex="" validationmessage="" tooltip="" tracked="False"><![CDATA[Gamper]]></Text>
        <Text id="Author.User.Mobile" row="0" column="0" columnspan="0" multiline="False" multilinerows="0" locked="False" label="Author.User.Mobile" readonly="False" visible="True" required="False" regex="" validationmessage="" tooltip="" tracked="False"><![CDATA[ ]]></Text>
        <Text id="Author.User.OuLev1" row="0" column="0" columnspan="0" multiline="False" multilinerows="0" locked="False" label="Author.User.OuLev1" readonly="False" visible="True" required="False" regex="" validationmessage="" tooltip="" tracked="False"><![CDATA[Kanton Zürich]]></Text>
        <Text id="Author.User.OuLev2" row="0" column="0" columnspan="0" multiline="False" multilinerows="0" locked="False" label="Author.User.OuLev2" readonly="False" visible="True" required="False" regex="" validationmessage="" tooltip="" tracked="False"><![CDATA[Bildungsdirektion]]></Text>
        <Text id="Author.User.OuLev3" row="0" column="0" columnspan="0" multiline="False" multilinerows="0" locked="False" label="Author.User.OuLev3" readonly="False" visible="True" required="False" regex="" validationmessage="" tooltip="" tracked="False"><![CDATA[Mittelschul- und Berufsbildungsamt]]></Text>
        <Text id="Author.User.OuLev4" row="0" column="0" columnspan="0" multiline="False" multilinerows="0" locked="False" label="Author.User.OuLev4" readonly="False" visible="True" required="False" regex="" validationmessage="" tooltip="" tracked="False"><![CDATA[Abteilung Fachstellen, Entwicklung und Projekte]]></Text>
        <Text id="Author.User.OuMail" row="0" column="0" columnspan="0" multiline="False" multilinerows="0" locked="False" label="Author.User.OuMail" readonly="False" visible="True" required="False" regex="" validationmessage="" tooltip="" tracked="False"><![CDATA[ ]]></Text>
        <Text id="Author.User.OuPhone" row="0" column="0" columnspan="0" multiline="False" multilinerows="0" locked="False" label="Author.User.OuPhone" readonly="False" visible="True" required="False" regex="" validationmessage="" tooltip="" tracked="False"><![CDATA[+41 43 259 77 00]]></Text>
        <Text id="Author.User.Phone" row="0" column="0" columnspan="0" multiline="False" multilinerows="0" locked="False" label="Author.User.Phone" readonly="False" visible="True" required="False" regex="" validationmessage="" tooltip="" tracked="False"><![CDATA[+41 43 259 78 06]]></Text>
        <Text id="Author.User.Postal.City" row="0" column="0" columnspan="0" multiline="False" multilinerows="0" locked="False" label="Author.User.Postal.City" readonly="False" visible="True" required="False" regex="" validationmessage="" tooltip="" tracked="False"><![CDATA[Zürich]]></Text>
        <Text id="Author.User.Postal.POBox" row="0" column="0" columnspan="0" multiline="False" multilinerows="0" locked="False" label="Author.User.Postal.POBox" readonly="False" visible="True" required="False" regex="" validationmessage="" tooltip="" tracked="False"><![CDATA[ ]]></Text>
        <Text id="Author.User.Postal.Street" row="0" column="0" columnspan="0" multiline="False" multilinerows="0" locked="False" label="Author.User.Postal.Street" readonly="False" visible="True" required="False" regex="" validationmessage="" tooltip="" tracked="False"><![CDATA[Ausstellungsstrasse 80]]></Text>
        <Text id="Author.User.Postal.Zip" row="0" column="0" columnspan="0" multiline="False" multilinerows="0" locked="False" label="Author.User.Postal.Zip" readonly="False" visible="True" required="False" regex="" validationmessage="" tooltip="" tracked="False"><![CDATA[8090]]></Text>
        <Text id="Author.User.PresenceTime" row="0" column="0" columnspan="0" multiline="False" multilinerows="0" locked="False" label="Author.User.PresenceTime" readonly="False" visible="True" required="False" regex="" validationmessage="" tooltip="" tracked="False"><![CDATA[ ]]></Text>
        <Image id="Author.User.Sign" row="0" column="0" columnspan="0" label="Author.User.Sign" locked="False" readonly="False" visible="True">iVBORw0KGgoAAAANSUhEUgAAAAEAAAABCAYAAAAfFcSJAAAAAXNSR0IArs4c6QAAAARnQU1BAACx
jwv8YQUAAAAJcEhZcwAADsMAAA7DAcdvqGQAAAAadEVYdFNvZnR3YXJlAFBhaW50Lk5FVCB2My41
LjEwMPRyoQAAAA1JREFUGFdj+P//PwMACPwC/ohfBuAAAAAASUVORK5CYII=</Image>
        <Text id="Author.User.Title" row="0" column="0" columnspan="0" multiline="False" multilinerows="0" locked="False" label="Author.User.Title" readonly="False" visible="True" required="False" regex="" validationmessage="" tooltip="" tracked="False"><![CDATA[ ]]></Text>
        <Text id="Author.User.Url" row="0" column="0" columnspan="0" multiline="False" multilinerows="0" locked="False" label="Author.User.Url" readonly="False" visible="True" required="False" regex="" validationmessage="" tooltip="" tracked="False"><![CDATA[ ]]></Text>
      </Author>
      <Signer_0 windowwidth="0" windowheight="0" minwindowwidth="0" maxwindowwidth="0" minwindowheight="0" maxwindowheight="0">
        <Text id="Signer_0.Id" row="0" column="0" columnspan="0" multiline="False" multilinerows="0" locked="False" label="Signer_0.Id" readonly="False" visible="True" required="False" regex="" validationmessage="" tooltip="" tracked="False"><![CDATA[98322ab0-df2a-4a65-be41-76674a0c3265]]></Text>
        <Text id="Signer_0.OrganizationUnitId" row="0" column="0" columnspan="0" multiline="False" multilinerows="0" locked="False" label="Signer_0.OrganizationUnitId" readonly="False" visible="True" required="False" regex="" validationmessage="" tooltip="" tracked="False"><![CDATA[5f984b26-4ce2-46fd-84aa-1f7db548afe8]]></Text>
        <Text id="Signer_0.Org.Postal.Country" row="0" column="0" columnspan="0" multiline="False" multilinerows="0" locked="False" label="Signer_0.Org.Postal.Country" readonly="False" visible="True" required="False" regex="" validationmessage="" tooltip="" tracked="False"><![CDATA[Schweiz]]></Text>
        <Text id="Signer_0.Org.Postal.LZip" row="0" column="0" columnspan="0" multiline="False" multilinerows="0" locked="False" label="Signer_0.Org.Postal.LZip" readonly="False" visible="True" required="False" regex="" validationmessage="" tooltip="" tracked="False"><![CDATA[CH]]></Text>
        <Text id="Signer_0.Org.Title" row="0" column="0" columnspan="0" multiline="False" multilinerows="0" locked="False" label="Signer_0.Org.Title" readonly="False" visible="True" required="False" regex="" validationmessage="" tooltip="" tracked="False"><![CDATA[Kanton Zürich]]></Text>
        <Text id="Signer_0.User.Alias" row="0" column="0" columnspan="0" multiline="False" multilinerows="0" locked="False" label="Signer_0.User.Alias" readonly="False" visible="True" required="False" regex="" validationmessage="" tooltip="" tracked="False"><![CDATA[ ]]></Text>
        <Text id="Signer_0.User.Email" row="0" column="0" columnspan="0" multiline="False" multilinerows="0" locked="False" label="Signer_0.User.Email" readonly="False" visible="True" required="False" regex="" validationmessage="" tooltip="" tracked="False"><![CDATA[stefan.gamper@mba.zh.ch]]></Text>
        <Text id="Signer_0.User.Fax" row="0" column="0" columnspan="0" multiline="False" multilinerows="0" locked="False" label="Signer_0.User.Fax" readonly="False" visible="True" required="False" regex="" validationmessage="" tooltip="" tracked="False"><![CDATA[ ]]></Text>
        <Text id="Signer_0.User.FirstName" row="0" column="0" columnspan="0" multiline="False" multilinerows="0" locked="False" label="Signer_0.User.FirstName" readonly="False" visible="True" required="False" regex="" validationmessage="" tooltip="" tracked="False"><![CDATA[Stefan]]></Text>
        <Text id="Signer_0.User.Function" row="0" column="0" columnspan="0" multiline="False" multilinerows="0" locked="False" label="Signer_0.User.Function" readonly="False" visible="True" required="False" regex="" validationmessage="" tooltip="" tracked="False"><![CDATA[Projektleiter Lehrstellenmarketing]]></Text>
        <Text id="Signer_0.User.LastName" row="0" column="0" columnspan="0" multiline="False" multilinerows="0" locked="False" label="Signer_0.User.LastName" readonly="False" visible="True" required="False" regex="" validationmessage="" tooltip="" tracked="False"><![CDATA[Gamper]]></Text>
        <Text id="Signer_0.User.Mobile" row="0" column="0" columnspan="0" multiline="False" multilinerows="0" locked="False" label="Signer_0.User.Mobile" readonly="False" visible="True" required="False" regex="" validationmessage="" tooltip="" tracked="False"><![CDATA[ ]]></Text>
        <Text id="Signer_0.User.OuLev1" row="0" column="0" columnspan="0" multiline="False" multilinerows="0" locked="False" label="Signer_0.User.OuLev1" readonly="False" visible="True" required="False" regex="" validationmessage="" tooltip="" tracked="False"><![CDATA[Kanton Zürich]]></Text>
        <Text id="Signer_0.User.OuLev2" row="0" column="0" columnspan="0" multiline="False" multilinerows="0" locked="False" label="Signer_0.User.OuLev2" readonly="False" visible="True" required="False" regex="" validationmessage="" tooltip="" tracked="False"><![CDATA[Bildungsdirektion]]></Text>
        <Text id="Signer_0.User.OuLev3" row="0" column="0" columnspan="0" multiline="False" multilinerows="0" locked="False" label="Signer_0.User.OuLev3" readonly="False" visible="True" required="False" regex="" validationmessage="" tooltip="" tracked="False"><![CDATA[Mittelschul- und Berufsbildungsamt]]></Text>
        <Text id="Signer_0.User.OuLev4" row="0" column="0" columnspan="0" multiline="False" multilinerows="0" locked="False" label="Signer_0.User.OuLev4" readonly="False" visible="True" required="False" regex="" validationmessage="" tooltip="" tracked="False"><![CDATA[Abteilung Fachstellen, Entwicklung und Projekte]]></Text>
        <Text id="Signer_0.User.OuMail" row="0" column="0" columnspan="0" multiline="False" multilinerows="0" locked="False" label="Signer_0.User.OuMail" readonly="False" visible="True" required="False" regex="" validationmessage="" tooltip="" tracked="False"><![CDATA[ ]]></Text>
        <Text id="Signer_0.User.OuPhone" row="0" column="0" columnspan="0" multiline="False" multilinerows="0" locked="False" label="Signer_0.User.OuPhone" readonly="False" visible="True" required="False" regex="" validationmessage="" tooltip="" tracked="False"><![CDATA[+41 43 259 77 00]]></Text>
        <Text id="Signer_0.User.Phone" row="0" column="0" columnspan="0" multiline="False" multilinerows="0" locked="False" label="Signer_0.User.Phone" readonly="False" visible="True" required="False" regex="" validationmessage="" tooltip="" tracked="False"><![CDATA[+41 43 259 78 06]]></Text>
        <Text id="Signer_0.User.Postal.City" row="0" column="0" columnspan="0" multiline="False" multilinerows="0" locked="False" label="Signer_0.User.Postal.City" readonly="False" visible="True" required="False" regex="" validationmessage="" tooltip="" tracked="False"><![CDATA[Zürich]]></Text>
        <Text id="Signer_0.User.Postal.POBox" row="0" column="0" columnspan="0" multiline="False" multilinerows="0" locked="False" label="Signer_0.User.Postal.POBox" readonly="False" visible="True" required="False" regex="" validationmessage="" tooltip="" tracked="False"><![CDATA[ ]]></Text>
        <Text id="Signer_0.User.Postal.Street" row="0" column="0" columnspan="0" multiline="False" multilinerows="0" locked="False" label="Signer_0.User.Postal.Street" readonly="False" visible="True" required="False" regex="" validationmessage="" tooltip="" tracked="False"><![CDATA[Ausstellungsstrasse 80]]></Text>
        <Text id="Signer_0.User.Postal.Zip" row="0" column="0" columnspan="0" multiline="False" multilinerows="0" locked="False" label="Signer_0.User.Postal.Zip" readonly="False" visible="True" required="False" regex="" validationmessage="" tooltip="" tracked="False"><![CDATA[8090]]></Text>
        <Text id="Signer_0.User.PresenceTime" row="0" column="0" columnspan="0" multiline="False" multilinerows="0" locked="False" label="Signer_0.User.PresenceTime" readonly="False" visible="True" required="False" regex="" validationmessage="" tooltip="" tracked="False"><![CDATA[ ]]></Text>
        <Image id="Signer_0.User.Sign" row="0" column="0" columnspan="0" label="Signer_0.User.Sign" locked="False" readonly="False" visible="True">iVBORw0KGgoAAAANSUhEUgAAAAEAAAABCAYAAAAfFcSJAAAAAXNSR0IArs4c6QAAAARnQU1BAACx
jwv8YQUAAAAJcEhZcwAADsMAAA7DAcdvqGQAAAAadEVYdFNvZnR3YXJlAFBhaW50Lk5FVCB2My41
LjEwMPRyoQAAAA1JREFUGFdj+P//PwMACPwC/ohfBuAAAAAASUVORK5CYII=</Image>
        <Text id="Signer_0.User.Title" row="0" column="0" columnspan="0" multiline="False" multilinerows="0" locked="False" label="Signer_0.User.Title" readonly="False" visible="True" required="False" regex="" validationmessage="" tooltip="" tracked="False"><![CDATA[ ]]></Text>
        <Text id="Signer_0.User.Url" row="0" column="0" columnspan="0" multiline="False" multilinerows="0" locked="False" label="Signer_0.User.Url" readonly="False" visible="True" required="False" regex="" validationmessage="" tooltip="" tracked="False"><![CDATA[ ]]></Text>
      </Signer_0>
      <Signer_1 windowwidth="0" windowheight="0" minwindowwidth="0" maxwindowwidth="0" minwindowheight="0" maxwindowheight="0">
        <Text id="Signer_1.Id" row="0" column="0" columnspan="0" multiline="False" multilinerows="0" locked="False" label="Signer_1.Id" readonly="False" visible="True" required="False" regex="" validationmessage="" tooltip="" tracked="False"><![CDATA[00000000-0000-0000-0000-000000000000]]></Text>
        <Text id="Signer_1.OrganizationUnitId" row="0" column="0" columnspan="0" multiline="False" multilinerows="0" locked="False" label="Signer_1.OrganizationUnitId" readonly="False" visible="True" required="False" regex="" validationmessage="" tooltip="" tracked="False"><![CDATA[ ]]></Text>
        <Text id="Signer_1.Org.Postal.Country" row="0" column="0" columnspan="0" multiline="False" multilinerows="0" locked="False" label="Signer_1.Org.Postal.Country" readonly="False" visible="True" required="False" regex="" validationmessage="" tooltip="" tracked="False"><![CDATA[ ]]></Text>
        <Text id="Signer_1.Org.Postal.LZip" row="0" column="0" columnspan="0" multiline="False" multilinerows="0" locked="False" label="Signer_1.Org.Postal.LZip" readonly="False" visible="True" required="False" regex="" validationmessage="" tooltip="" tracked="False"><![CDATA[ ]]></Text>
        <Text id="Signer_1.Org.Title" row="0" column="0" columnspan="0" multiline="False" multilinerows="0" locked="False" label="Signer_1.Org.Title" readonly="False" visible="True" required="False" regex="" validationmessage="" tooltip="" tracked="False"><![CDATA[ ]]></Text>
        <Text id="Signer_1.User.Alias" row="0" column="0" columnspan="0" multiline="False" multilinerows="0" locked="False" label="Signer_1.User.Alias" readonly="False" visible="True" required="False" regex="" validationmessage="" tooltip="" tracked="False"><![CDATA[ ]]></Text>
        <Text id="Signer_1.User.Email" row="0" column="0" columnspan="0" multiline="False" multilinerows="0" locked="False" label="Signer_1.User.Email" readonly="False" visible="True" required="False" regex="" validationmessage="" tooltip="" tracked="False"><![CDATA[ ]]></Text>
        <Text id="Signer_1.User.Fax" row="0" column="0" columnspan="0" multiline="False" multilinerows="0" locked="False" label="Signer_1.User.Fax" readonly="False" visible="True" required="False" regex="" validationmessage="" tooltip="" tracked="False"><![CDATA[ ]]></Text>
        <Text id="Signer_1.User.FirstName" row="0" column="0" columnspan="0" multiline="False" multilinerows="0" locked="False" label="Signer_1.User.FirstName" readonly="False" visible="True" required="False" regex="" validationmessage="" tooltip="" tracked="False"><![CDATA[ ]]></Text>
        <Text id="Signer_1.User.Function" row="0" column="0" columnspan="0" multiline="False" multilinerows="0" locked="False" label="Signer_1.User.Function" readonly="False" visible="True" required="False" regex="" validationmessage="" tooltip="" tracked="False"><![CDATA[ ]]></Text>
        <Text id="Signer_1.User.LastName" row="0" column="0" columnspan="0" multiline="False" multilinerows="0" locked="False" label="Signer_1.User.LastName" readonly="False" visible="True" required="False" regex="" validationmessage="" tooltip="" tracked="False"><![CDATA[ ]]></Text>
        <Text id="Signer_1.User.Mobile" row="0" column="0" columnspan="0" multiline="False" multilinerows="0" locked="False" label="Signer_1.User.Mobile" readonly="False" visible="True" required="False" regex="" validationmessage="" tooltip="" tracked="False"><![CDATA[ ]]></Text>
        <Text id="Signer_1.User.OuLev1" row="0" column="0" columnspan="0" multiline="False" multilinerows="0" locked="False" label="Signer_1.User.OuLev1" readonly="False" visible="True" required="False" regex="" validationmessage="" tooltip="" tracked="False"><![CDATA[ ]]></Text>
        <Text id="Signer_1.User.OuLev2" row="0" column="0" columnspan="0" multiline="False" multilinerows="0" locked="False" label="Signer_1.User.OuLev2" readonly="False" visible="True" required="False" regex="" validationmessage="" tooltip="" tracked="False"><![CDATA[ ]]></Text>
        <Text id="Signer_1.User.OuLev3" row="0" column="0" columnspan="0" multiline="False" multilinerows="0" locked="False" label="Signer_1.User.OuLev3" readonly="False" visible="True" required="False" regex="" validationmessage="" tooltip="" tracked="False"><![CDATA[ ]]></Text>
        <Text id="Signer_1.User.OuLev4" row="0" column="0" columnspan="0" multiline="False" multilinerows="0" locked="False" label="Signer_1.User.OuLev4" readonly="False" visible="True" required="False" regex="" validationmessage="" tooltip="" tracked="False"><![CDATA[ ]]></Text>
        <Text id="Signer_1.User.OuMail" row="0" column="0" columnspan="0" multiline="False" multilinerows="0" locked="False" label="Signer_1.User.OuMail" readonly="False" visible="True" required="False" regex="" validationmessage="" tooltip="" tracked="False"><![CDATA[ ]]></Text>
        <Text id="Signer_1.User.OuPhone" row="0" column="0" columnspan="0" multiline="False" multilinerows="0" locked="False" label="Signer_1.User.OuPhone" readonly="False" visible="True" required="False" regex="" validationmessage="" tooltip="" tracked="False"><![CDATA[ ]]></Text>
        <Text id="Signer_1.User.Phone" row="0" column="0" columnspan="0" multiline="False" multilinerows="0" locked="False" label="Signer_1.User.Phone" readonly="False" visible="True" required="False" regex="" validationmessage="" tooltip="" tracked="False"><![CDATA[ ]]></Text>
        <Text id="Signer_1.User.Postal.City" row="0" column="0" columnspan="0" multiline="False" multilinerows="0" locked="False" label="Signer_1.User.Postal.City" readonly="False" visible="True" required="False" regex="" validationmessage="" tooltip="" tracked="False"><![CDATA[ ]]></Text>
        <Text id="Signer_1.User.Postal.POBox" row="0" column="0" columnspan="0" multiline="False" multilinerows="0" locked="False" label="Signer_1.User.Postal.POBox" readonly="False" visible="True" required="False" regex="" validationmessage="" tooltip="" tracked="False"><![CDATA[ ]]></Text>
        <Text id="Signer_1.User.Postal.Street" row="0" column="0" columnspan="0" multiline="False" multilinerows="0" locked="False" label="Signer_1.User.Postal.Street" readonly="False" visible="True" required="False" regex="" validationmessage="" tooltip="" tracked="False"><![CDATA[ ]]></Text>
        <Text id="Signer_1.User.Postal.Zip" row="0" column="0" columnspan="0" multiline="False" multilinerows="0" locked="False" label="Signer_1.User.Postal.Zip" readonly="False" visible="True" required="False" regex="" validationmessage="" tooltip="" tracked="False"><![CDATA[ ]]></Text>
        <Text id="Signer_1.User.PresenceTime" row="0" column="0" columnspan="0" multiline="False" multilinerows="0" locked="False" label="Signer_1.User.PresenceTime" readonly="False" visible="True" required="False" regex="" validationmessage="" tooltip="" tracked="False"><![CDATA[ ]]></Text>
        <Image id="Signer_1.User.Sign" row="0" column="0" columnspan="0" label="Signer_1.User.Sign" locked="False" readonly="False" visible="True">iVBORw0KGgoAAAANSUhEUgAAAAEAAAABCAYAAAAfFcSJAAAAAXNSR0IArs4c6QAAAARnQU1BAACx
jwv8YQUAAAAJcEhZcwAADsMAAA7DAcdvqGQAAAAadEVYdFNvZnR3YXJlAFBhaW50Lk5FVCB2My41
LjEwMPRyoQAAAA1JREFUGFdj+P//PwMACPwC/ohfBuAAAAAASUVORK5CYII=</Image>
        <Text id="Signer_1.User.Title" row="0" column="0" columnspan="0" multiline="False" multilinerows="0" locked="False" label="Signer_1.User.Title" readonly="False" visible="True" required="False" regex="" validationmessage="" tooltip="" tracked="False"><![CDATA[ ]]></Text>
        <Text id="Signer_1.User.Url" row="0" column="0" columnspan="0" multiline="False" multilinerows="0" locked="False" label="Signer_1.User.Url" readonly="False" visible="True" required="False" regex="" validationmessage="" tooltip="" tracked="False"><![CDATA[ ]]></Text>
      </Signer_1>
      <Signer_2 windowwidth="0" windowheight="0" minwindowwidth="0" maxwindowwidth="0" minwindowheight="0" maxwindowheight="0">
        <Text id="Signer_2.Id" row="0" column="0" columnspan="0" multiline="False" multilinerows="0" locked="False" label="Signer_2.Id" readonly="False" visible="True" required="False" regex="" validationmessage="" tooltip="" tracked="False"><![CDATA[00000000-0000-0000-0000-000000000000]]></Text>
        <Text id="Signer_2.OrganizationUnitId" row="0" column="0" columnspan="0" multiline="False" multilinerows="0" locked="False" label="Signer_2.OrganizationUnitId" readonly="False" visible="True" required="False" regex="" validationmessage="" tooltip="" tracked="False"><![CDATA[ ]]></Text>
        <Text id="Signer_2.Org.Postal.Country" row="0" column="0" columnspan="0" multiline="False" multilinerows="0" locked="False" label="Signer_2.Org.Postal.Country" readonly="False" visible="True" required="False" regex="" validationmessage="" tooltip="" tracked="False"><![CDATA[ ]]></Text>
        <Text id="Signer_2.Org.Postal.LZip" row="0" column="0" columnspan="0" multiline="False" multilinerows="0" locked="False" label="Signer_2.Org.Postal.LZip" readonly="False" visible="True" required="False" regex="" validationmessage="" tooltip="" tracked="False"><![CDATA[ ]]></Text>
        <Text id="Signer_2.Org.Title" row="0" column="0" columnspan="0" multiline="False" multilinerows="0" locked="False" label="Signer_2.Org.Title" readonly="False" visible="True" required="False" regex="" validationmessage="" tooltip="" tracked="False"><![CDATA[ ]]></Text>
        <Text id="Signer_2.User.Alias" row="0" column="0" columnspan="0" multiline="False" multilinerows="0" locked="False" label="Signer_2.User.Alias" readonly="False" visible="True" required="False" regex="" validationmessage="" tooltip="" tracked="False"><![CDATA[ ]]></Text>
        <Text id="Signer_2.User.Email" row="0" column="0" columnspan="0" multiline="False" multilinerows="0" locked="False" label="Signer_2.User.Email" readonly="False" visible="True" required="False" regex="" validationmessage="" tooltip="" tracked="False"><![CDATA[ ]]></Text>
        <Text id="Signer_2.User.Fax" row="0" column="0" columnspan="0" multiline="False" multilinerows="0" locked="False" label="Signer_2.User.Fax" readonly="False" visible="True" required="False" regex="" validationmessage="" tooltip="" tracked="False"><![CDATA[ ]]></Text>
        <Text id="Signer_2.User.FirstName" row="0" column="0" columnspan="0" multiline="False" multilinerows="0" locked="False" label="Signer_2.User.FirstName" readonly="False" visible="True" required="False" regex="" validationmessage="" tooltip="" tracked="False"><![CDATA[ ]]></Text>
        <Text id="Signer_2.User.Function" row="0" column="0" columnspan="0" multiline="False" multilinerows="0" locked="False" label="Signer_2.User.Function" readonly="False" visible="True" required="False" regex="" validationmessage="" tooltip="" tracked="False"><![CDATA[ ]]></Text>
        <Text id="Signer_2.User.LastName" row="0" column="0" columnspan="0" multiline="False" multilinerows="0" locked="False" label="Signer_2.User.LastName" readonly="False" visible="True" required="False" regex="" validationmessage="" tooltip="" tracked="False"><![CDATA[ ]]></Text>
        <Text id="Signer_2.User.Mobile" row="0" column="0" columnspan="0" multiline="False" multilinerows="0" locked="False" label="Signer_2.User.Mobile" readonly="False" visible="True" required="False" regex="" validationmessage="" tooltip="" tracked="False"><![CDATA[ ]]></Text>
        <Text id="Signer_2.User.OuLev1" row="0" column="0" columnspan="0" multiline="False" multilinerows="0" locked="False" label="Signer_2.User.OuLev1" readonly="False" visible="True" required="False" regex="" validationmessage="" tooltip="" tracked="False"><![CDATA[ ]]></Text>
        <Text id="Signer_2.User.OuLev2" row="0" column="0" columnspan="0" multiline="False" multilinerows="0" locked="False" label="Signer_2.User.OuLev2" readonly="False" visible="True" required="False" regex="" validationmessage="" tooltip="" tracked="False"><![CDATA[ ]]></Text>
        <Text id="Signer_2.User.OuLev3" row="0" column="0" columnspan="0" multiline="False" multilinerows="0" locked="False" label="Signer_2.User.OuLev3" readonly="False" visible="True" required="False" regex="" validationmessage="" tooltip="" tracked="False"><![CDATA[ ]]></Text>
        <Text id="Signer_2.User.OuLev4" row="0" column="0" columnspan="0" multiline="False" multilinerows="0" locked="False" label="Signer_2.User.OuLev4" readonly="False" visible="True" required="False" regex="" validationmessage="" tooltip="" tracked="False"><![CDATA[ ]]></Text>
        <Text id="Signer_2.User.OuMail" row="0" column="0" columnspan="0" multiline="False" multilinerows="0" locked="False" label="Signer_2.User.OuMail" readonly="False" visible="True" required="False" regex="" validationmessage="" tooltip="" tracked="False"><![CDATA[ ]]></Text>
        <Text id="Signer_2.User.OuPhone" row="0" column="0" columnspan="0" multiline="False" multilinerows="0" locked="False" label="Signer_2.User.OuPhone" readonly="False" visible="True" required="False" regex="" validationmessage="" tooltip="" tracked="False"><![CDATA[ ]]></Text>
        <Text id="Signer_2.User.Phone" row="0" column="0" columnspan="0" multiline="False" multilinerows="0" locked="False" label="Signer_2.User.Phone" readonly="False" visible="True" required="False" regex="" validationmessage="" tooltip="" tracked="False"><![CDATA[ ]]></Text>
        <Text id="Signer_2.User.Postal.City" row="0" column="0" columnspan="0" multiline="False" multilinerows="0" locked="False" label="Signer_2.User.Postal.City" readonly="False" visible="True" required="False" regex="" validationmessage="" tooltip="" tracked="False"><![CDATA[ ]]></Text>
        <Text id="Signer_2.User.Postal.POBox" row="0" column="0" columnspan="0" multiline="False" multilinerows="0" locked="False" label="Signer_2.User.Postal.POBox" readonly="False" visible="True" required="False" regex="" validationmessage="" tooltip="" tracked="False"><![CDATA[ ]]></Text>
        <Text id="Signer_2.User.Postal.Street" row="0" column="0" columnspan="0" multiline="False" multilinerows="0" locked="False" label="Signer_2.User.Postal.Street" readonly="False" visible="True" required="False" regex="" validationmessage="" tooltip="" tracked="False"><![CDATA[ ]]></Text>
        <Text id="Signer_2.User.Postal.Zip" row="0" column="0" columnspan="0" multiline="False" multilinerows="0" locked="False" label="Signer_2.User.Postal.Zip" readonly="False" visible="True" required="False" regex="" validationmessage="" tooltip="" tracked="False"><![CDATA[ ]]></Text>
        <Text id="Signer_2.User.PresenceTime" row="0" column="0" columnspan="0" multiline="False" multilinerows="0" locked="False" label="Signer_2.User.PresenceTime" readonly="False" visible="True" required="False" regex="" validationmessage="" tooltip="" tracked="False"><![CDATA[ ]]></Text>
        <Image id="Signer_2.User.Sign" row="0" column="0" columnspan="0" label="Signer_2.User.Sign" locked="False" readonly="False" visible="True">iVBORw0KGgoAAAANSUhEUgAAAAEAAAABCAYAAAAfFcSJAAAAAXNSR0IArs4c6QAAAARnQU1BAACx
jwv8YQUAAAAJcEhZcwAADsMAAA7DAcdvqGQAAAAadEVYdFNvZnR3YXJlAFBhaW50Lk5FVCB2My41
LjEwMPRyoQAAAA1JREFUGFdj+P//PwMACPwC/ohfBuAAAAAASUVORK5CYII=</Image>
        <Text id="Signer_2.User.Title" row="0" column="0" columnspan="0" multiline="False" multilinerows="0" locked="False" label="Signer_2.User.Title" readonly="False" visible="True" required="False" regex="" validationmessage="" tooltip="" tracked="False"><![CDATA[ ]]></Text>
        <Text id="Signer_2.User.Url" row="0" column="0" columnspan="0" multiline="False" multilinerows="0" locked="False" label="Signer_2.User.Url" readonly="False" visible="True" required="False" regex="" validationmessage="" tooltip="" tracked="False"><![CDATA[ ]]></Text>
      </Signer_2>
      <Parameter windowwidth="750" windowheight="260" minwindowwidth="0" maxwindowwidth="0" minwindowheight="0" maxwindowheight="0">
        <Text id="Special.CheckboxGroupViewList" row="0" column="0" columnspan="0" multiline="False" multilinerows="3" locked="False" label="Special.CheckboxGroupViewList" readonly="False" visible="False" required="False" regex="" validationmessage="" tooltip="" tracked="False"><![CDATA[ ]]></Text>
        <Text id="Special.CheckboxGroupViewBox" row="0" column="0" columnspan="0" multiline="False" multilinerows="3" locked="False" label="Special.CheckboxGroupViewBox" readonly="False" visible="False" required="False" regex="" validationmessage="" tooltip="" tracked="False"><![CDATA[ ]]></Text>
        <Text id="Special.CheckboxGroupViewText" row="0" column="0" columnspan="0" multiline="False" multilinerows="3" locked="False" label="Special.CheckboxGroupViewText" readonly="False" visible="False" required="False" regex="" validationmessage="" tooltip="" tracked="False"><![CDATA[ ]]></Text>
        <Text id="Special.CheckboxGroupViewBoxAndText" row="0" column="0" columnspan="0" multiline="False" multilinerows="3" locked="False" label="Special.CheckboxGroupViewBoxAndText" readonly="False" visible="False" required="False" regex="" validationmessage="" tooltip="" tracked="False"><![CDATA[ ]]></Text>
        <Text id="DocParam.Organisation" row="0" column="0" columnspan="0" multiline="False" multilinerows="0" locked="False" label="" readonly="False" visible="True" required="False" regex="" validationmessage="" tooltip="" tracked="False"><![CDATA[Fachstellen, Entwicklung und Projekte]]></Text>
        <Text id="DocParam.HeaderSubject" row="0" column="0" columnspan="0" multiline="False" multilinerows="0" locked="False" label="Text Folgefolien" readonly="False" visible="True" required="False" regex="" validationmessage="" tooltip="" tracked="False"><![CDATA[ ]]></Text>
        <CheckBox id="DocParam.ChbDirektionAmt" row="0" column="0" columnspan="0" isinputenabled="False" locked="False" label="" readonly="False" visible="True" tooltip="" tracked="False">true</CheckBox>
      </Parameter>
      <Scripting windowwidth="0" windowheight="0" minwindowwidth="0" maxwindowwidth="0" minwindowheight="0" maxwindowheight="0">
        <Text id="CustomElements.Presentation.Header.Script1" row="0" column="0" columnspan="0" multiline="False" multilinerows="0" locked="False" label="CustomElements.Presentation.Header.Script1" readonly="False" visible="True" required="False" regex="" validationmessage="" tooltip="" tracked="False"><![CDATA[Kanton Zürich
Bildungsdirektion
Fachstellen, Entwicklung und Projekte]]></Text>
        <Text id="CustomElements.Presentation.Header.Script2" row="0" column="0" columnspan="0" multiline="False" multilinerows="0" locked="False" label="CustomElements.Presentation.Header.Script2" readonly="False" visible="True" required="False" regex="" validationmessage="" tooltip="" tracked="False"><![CDATA[ ]]></Text>
        <Text id="CustomElements.Presentation.Header.Script3" row="0" column="0" columnspan="0" multiline="False" multilinerows="0" locked="False" label="CustomElements.Presentation.Header.Script3" readonly="False" visible="True" required="False" regex="" validationmessage="" tooltip="" tracked="False"><![CDATA[ ]]></Text>
        <Text id="CustomElements.Presentation.Presenter" row="0" column="0" columnspan="0" multiline="False" multilinerows="0" locked="False" label="CustomElements.Presentation.Presenter" readonly="False" visible="True" required="False" regex="" validationmessage="" tooltip="" tracked="False"><![CDATA[ ]]></Text>
        <Text id="CustomElements.Presentation.LocationDate" row="0" column="0" columnspan="0" multiline="False" multilinerows="0" locked="False" label="CustomElements.Presentation.LocationDate" readonly="False" visible="True" required="False" regex="" validationmessage="" tooltip="" tracked="False"><![CDATA[ ]]></Text>
        <Text id="CustomElements.Presentation.Header.Block" row="0" column="0" columnspan="0" multiline="False" multilinerows="0" locked="False" label="CustomElements.Presentation.Header.Block" readonly="False" visible="True" required="False" regex="" validationmessage="" tooltip="" tracked="False"><![CDATA[Stefan Gamper]]></Text>
      </Scripting>
    </DataModel>
  </Content>
  <TemplateTree CreationMode="Published" PipelineVersion="V2">
    <Template tId="e8aa1351-e0f4-4859-9e00-afa689a27a55" internalTId="3ed4fd11-b179-499b-9255-28e45a801d5b"/>
  </TemplateTree>
</OneOffixxDocumentPart>
</file>

<file path=customXml/itemProps1.xml><?xml version="1.0" encoding="utf-8"?>
<ds:datastoreItem xmlns:ds="http://schemas.openxmlformats.org/officeDocument/2006/customXml" ds:itemID="{A449B464-0553-4524-8B50-8CF847BB4EBF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3f5b236e-502f-495a-84e4-b7325173524c"/>
    <ds:schemaRef ds:uri="7e2f250d-22c9-4c1f-83ef-a2f9db090fc8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11CEA1A-133B-4541-BF41-4AAF7CB7813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2B0C25D-DEE0-4ED7-A3A9-A87F12374FC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e2f250d-22c9-4c1f-83ef-a2f9db090fc8"/>
    <ds:schemaRef ds:uri="3f5b236e-502f-495a-84e4-b7325173524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DCB572B2-7A92-479E-BDE4-0BDB8A55028B}">
  <ds:schemaRefs>
    <ds:schemaRef ds:uri=""/>
    <ds:schemaRef ds:uri="http://schema.oneoffixx.com/OneOffixxDocumentPart/1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07</Words>
  <Application>Microsoft Office PowerPoint</Application>
  <PresentationFormat>Bildschirmpräsentation (16:9)</PresentationFormat>
  <Paragraphs>96</Paragraphs>
  <Slides>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6" baseType="lpstr">
      <vt:lpstr>Arial</vt:lpstr>
      <vt:lpstr>Arial Black</vt:lpstr>
      <vt:lpstr>Calibri</vt:lpstr>
      <vt:lpstr>HelveticaNeueLT Std</vt:lpstr>
      <vt:lpstr>HelveticaNeueLT Std Blk</vt:lpstr>
      <vt:lpstr>Wingdings</vt:lpstr>
      <vt:lpstr>Baudirektion_weiss</vt:lpstr>
      <vt:lpstr>think-cell Folie</vt:lpstr>
      <vt:lpstr>PowerPoint-Präsentation</vt:lpstr>
      <vt:lpstr>Inhaltsverzeichnis</vt:lpstr>
      <vt:lpstr>1  Ausgangslage</vt:lpstr>
      <vt:lpstr>2  Ziele</vt:lpstr>
      <vt:lpstr>3   Vorteile der beruflichen Grundbildung</vt:lpstr>
      <vt:lpstr>4  Ressourcenbedarf</vt:lpstr>
      <vt:lpstr>5  Antrag</vt:lpstr>
      <vt:lpstr>PowerPoint-Präsentation</vt:lpstr>
    </vt:vector>
  </TitlesOfParts>
  <Company>Bildungsdirektion Kanton Züric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Gamper Stefan</dc:creator>
  <cp:lastModifiedBy>Stefan Gamper (MBA)</cp:lastModifiedBy>
  <cp:revision>768</cp:revision>
  <cp:lastPrinted>2023-01-24T12:32:24Z</cp:lastPrinted>
  <dcterms:created xsi:type="dcterms:W3CDTF">2022-10-20T12:22:08Z</dcterms:created>
  <dcterms:modified xsi:type="dcterms:W3CDTF">2024-01-12T10:53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855C7C206EE5D40A5070CE428C26E1A</vt:lpwstr>
  </property>
  <property fmtid="{D5CDD505-2E9C-101B-9397-08002B2CF9AE}" pid="3" name="MediaServiceImageTags">
    <vt:lpwstr/>
  </property>
</Properties>
</file>